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0.xml" ContentType="application/vnd.openxmlformats-officedocument.presentationml.notesSlide+xml"/>
  <Override PartName="/ppt/tags/tag6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notesSlides/notesSlide14.xml" ContentType="application/vnd.openxmlformats-officedocument.presentationml.notesSlide+xml"/>
  <Override PartName="/ppt/tags/tag67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6"/>
  </p:notesMasterIdLst>
  <p:sldIdLst>
    <p:sldId id="265" r:id="rId5"/>
    <p:sldId id="360" r:id="rId6"/>
    <p:sldId id="367" r:id="rId7"/>
    <p:sldId id="374" r:id="rId8"/>
    <p:sldId id="375" r:id="rId9"/>
    <p:sldId id="372" r:id="rId10"/>
    <p:sldId id="376" r:id="rId11"/>
    <p:sldId id="366" r:id="rId12"/>
    <p:sldId id="365" r:id="rId13"/>
    <p:sldId id="357" r:id="rId14"/>
    <p:sldId id="337" r:id="rId15"/>
    <p:sldId id="340" r:id="rId16"/>
    <p:sldId id="356" r:id="rId17"/>
    <p:sldId id="358" r:id="rId18"/>
    <p:sldId id="373" r:id="rId19"/>
    <p:sldId id="354" r:id="rId20"/>
    <p:sldId id="359" r:id="rId21"/>
    <p:sldId id="355" r:id="rId22"/>
    <p:sldId id="338" r:id="rId23"/>
    <p:sldId id="341" r:id="rId24"/>
    <p:sldId id="326" r:id="rId25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2268"/>
    <a:srgbClr val="0066CC"/>
    <a:srgbClr val="25FB4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2" autoAdjust="0"/>
    <p:restoredTop sz="92512" autoAdjust="0"/>
  </p:normalViewPr>
  <p:slideViewPr>
    <p:cSldViewPr>
      <p:cViewPr varScale="1">
        <p:scale>
          <a:sx n="122" d="100"/>
          <a:sy n="122" d="100"/>
        </p:scale>
        <p:origin x="1032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398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98" d="100"/>
          <a:sy n="98" d="100"/>
        </p:scale>
        <p:origin x="-356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62F6E3-1CEB-4080-AEE4-8301754FF76F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</dgm:pt>
    <dgm:pt modelId="{92D4B9AB-5D0B-4C41-B9C0-B42464044879}">
      <dgm:prSet phldrT="[Text]" custT="1"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Control Systems Integration</a:t>
          </a:r>
        </a:p>
      </dgm:t>
    </dgm:pt>
    <dgm:pt modelId="{73A4A645-A5D9-4169-A8C9-00DB6F863864}" type="parTrans" cxnId="{34A9ABE9-90AE-4495-9ADE-000F14A46393}">
      <dgm:prSet/>
      <dgm:spPr/>
      <dgm:t>
        <a:bodyPr/>
        <a:lstStyle/>
        <a:p>
          <a:endParaRPr lang="en-GB" sz="1400"/>
        </a:p>
      </dgm:t>
    </dgm:pt>
    <dgm:pt modelId="{AEF4A420-011B-4616-834F-C05EB978EABA}" type="sibTrans" cxnId="{34A9ABE9-90AE-4495-9ADE-000F14A46393}">
      <dgm:prSet/>
      <dgm:spPr/>
      <dgm:t>
        <a:bodyPr/>
        <a:lstStyle/>
        <a:p>
          <a:endParaRPr lang="en-GB" sz="1400"/>
        </a:p>
      </dgm:t>
    </dgm:pt>
    <dgm:pt modelId="{707651A2-0F96-482B-8591-E035A1066318}">
      <dgm:prSet phldrT="[Text]" custT="1"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Online analysis</a:t>
          </a:r>
        </a:p>
      </dgm:t>
    </dgm:pt>
    <dgm:pt modelId="{E72DFCB4-BBAA-4211-A07E-1AD3179678ED}" type="parTrans" cxnId="{B7DC451B-158D-4CFE-88D6-B7AFEEE75BA5}">
      <dgm:prSet/>
      <dgm:spPr/>
      <dgm:t>
        <a:bodyPr/>
        <a:lstStyle/>
        <a:p>
          <a:endParaRPr lang="en-GB" sz="1400"/>
        </a:p>
      </dgm:t>
    </dgm:pt>
    <dgm:pt modelId="{ECD7B789-26C6-4FDF-AFB8-09F75CAB0F9E}" type="sibTrans" cxnId="{B7DC451B-158D-4CFE-88D6-B7AFEEE75BA5}">
      <dgm:prSet/>
      <dgm:spPr/>
      <dgm:t>
        <a:bodyPr/>
        <a:lstStyle/>
        <a:p>
          <a:endParaRPr lang="en-GB" sz="1400"/>
        </a:p>
      </dgm:t>
    </dgm:pt>
    <dgm:pt modelId="{1914B75E-B9D2-41A8-A9CD-E8707B1266E4}">
      <dgm:prSet phldrT="[Text]" custT="1"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Further Performance &amp; Scalability </a:t>
          </a:r>
        </a:p>
      </dgm:t>
    </dgm:pt>
    <dgm:pt modelId="{9535E349-426B-47E1-83DC-1C834C86551E}" type="parTrans" cxnId="{7A7613FB-7BB8-4563-B99A-C5E7A4AD01E8}">
      <dgm:prSet/>
      <dgm:spPr/>
      <dgm:t>
        <a:bodyPr/>
        <a:lstStyle/>
        <a:p>
          <a:endParaRPr lang="en-GB" sz="1400"/>
        </a:p>
      </dgm:t>
    </dgm:pt>
    <dgm:pt modelId="{774B8B9B-B2EB-4CAF-B29E-7B87891997F0}" type="sibTrans" cxnId="{7A7613FB-7BB8-4563-B99A-C5E7A4AD01E8}">
      <dgm:prSet/>
      <dgm:spPr/>
      <dgm:t>
        <a:bodyPr/>
        <a:lstStyle/>
        <a:p>
          <a:endParaRPr lang="en-GB" sz="1400"/>
        </a:p>
      </dgm:t>
    </dgm:pt>
    <dgm:pt modelId="{623A2E86-6F8A-4F34-AB5C-7068B3B20A83}">
      <dgm:prSet phldrT="[Text]" custT="1"/>
      <dgm:spPr>
        <a:noFill/>
        <a:ln>
          <a:solidFill>
            <a:schemeClr val="accent1"/>
          </a:solidFill>
        </a:ln>
      </dgm:spPr>
      <dgm:t>
        <a:bodyPr/>
        <a:lstStyle/>
        <a:p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Large scale deployment &amp; further extensions</a:t>
          </a:r>
        </a:p>
      </dgm:t>
    </dgm:pt>
    <dgm:pt modelId="{CE6B2289-1BDC-4B5C-93B9-8045BF8AD773}" type="parTrans" cxnId="{BC9102F3-23B1-41BE-9D88-85CB5608B7A9}">
      <dgm:prSet/>
      <dgm:spPr/>
      <dgm:t>
        <a:bodyPr/>
        <a:lstStyle/>
        <a:p>
          <a:endParaRPr lang="en-GB" sz="1400"/>
        </a:p>
      </dgm:t>
    </dgm:pt>
    <dgm:pt modelId="{16077229-38BD-4573-AABC-CB7CEA75E418}" type="sibTrans" cxnId="{BC9102F3-23B1-41BE-9D88-85CB5608B7A9}">
      <dgm:prSet/>
      <dgm:spPr/>
      <dgm:t>
        <a:bodyPr/>
        <a:lstStyle/>
        <a:p>
          <a:endParaRPr lang="en-GB" sz="1400"/>
        </a:p>
      </dgm:t>
    </dgm:pt>
    <dgm:pt modelId="{4381E161-A4F0-4FE1-BA22-6791B92D3427}" type="pres">
      <dgm:prSet presAssocID="{8562F6E3-1CEB-4080-AEE4-8301754FF76F}" presName="Name0" presStyleCnt="0">
        <dgm:presLayoutVars>
          <dgm:chPref val="3"/>
          <dgm:dir/>
          <dgm:animLvl val="lvl"/>
          <dgm:resizeHandles/>
        </dgm:presLayoutVars>
      </dgm:prSet>
      <dgm:spPr/>
    </dgm:pt>
    <dgm:pt modelId="{DAAFBEDF-B4C5-42CC-907F-BA7C0F6933F4}" type="pres">
      <dgm:prSet presAssocID="{1914B75E-B9D2-41A8-A9CD-E8707B1266E4}" presName="horFlow" presStyleCnt="0"/>
      <dgm:spPr/>
    </dgm:pt>
    <dgm:pt modelId="{3A6F04F4-2334-4FE9-B7E9-C81177569F7F}" type="pres">
      <dgm:prSet presAssocID="{1914B75E-B9D2-41A8-A9CD-E8707B1266E4}" presName="bigChev" presStyleLbl="node1" presStyleIdx="0" presStyleCnt="1" custScaleX="87851" custScaleY="69727" custLinFactNeighborX="-7018"/>
      <dgm:spPr/>
      <dgm:t>
        <a:bodyPr/>
        <a:lstStyle/>
        <a:p>
          <a:endParaRPr lang="en-GB"/>
        </a:p>
      </dgm:t>
    </dgm:pt>
    <dgm:pt modelId="{2959F972-1F8F-49DB-9C2B-0BFD4269CF2C}" type="pres">
      <dgm:prSet presAssocID="{73A4A645-A5D9-4169-A8C9-00DB6F863864}" presName="parTrans" presStyleCnt="0"/>
      <dgm:spPr/>
    </dgm:pt>
    <dgm:pt modelId="{407B5FD5-F21A-4E3E-98B3-CC6F6D404A1B}" type="pres">
      <dgm:prSet presAssocID="{92D4B9AB-5D0B-4C41-B9C0-B42464044879}" presName="node" presStyleLbl="alignAccFollowNode1" presStyleIdx="0" presStyleCnt="3" custScaleX="89577" custScaleY="84008" custLinFactNeighborX="1667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2EB53CA-F8E7-4922-868D-2A83F38A5CED}" type="pres">
      <dgm:prSet presAssocID="{AEF4A420-011B-4616-834F-C05EB978EABA}" presName="sibTrans" presStyleCnt="0"/>
      <dgm:spPr/>
    </dgm:pt>
    <dgm:pt modelId="{B55A576B-82A6-444D-92CC-0E43399CBD5D}" type="pres">
      <dgm:prSet presAssocID="{707651A2-0F96-482B-8591-E035A1066318}" presName="node" presStyleLbl="alignAccFollowNode1" presStyleIdx="1" presStyleCnt="3" custScaleX="93212" custScaleY="84008" custLinFactNeighborX="2928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8F11541-9DB7-4147-8DC7-EDD85BA5ECF3}" type="pres">
      <dgm:prSet presAssocID="{ECD7B789-26C6-4FDF-AFB8-09F75CAB0F9E}" presName="sibTrans" presStyleCnt="0"/>
      <dgm:spPr/>
    </dgm:pt>
    <dgm:pt modelId="{E1C0B485-9163-43DC-AC60-71C6A3DA7E0D}" type="pres">
      <dgm:prSet presAssocID="{623A2E86-6F8A-4F34-AB5C-7068B3B20A83}" presName="node" presStyleLbl="alignAccFollowNode1" presStyleIdx="2" presStyleCnt="3" custScaleX="111763" custScaleY="82358" custLinFactNeighborX="46153" custLinFactNeighborY="6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BC9102F3-23B1-41BE-9D88-85CB5608B7A9}" srcId="{1914B75E-B9D2-41A8-A9CD-E8707B1266E4}" destId="{623A2E86-6F8A-4F34-AB5C-7068B3B20A83}" srcOrd="2" destOrd="0" parTransId="{CE6B2289-1BDC-4B5C-93B9-8045BF8AD773}" sibTransId="{16077229-38BD-4573-AABC-CB7CEA75E418}"/>
    <dgm:cxn modelId="{7928F9C5-A5C8-4B6E-80B3-35163225DE14}" type="presOf" srcId="{623A2E86-6F8A-4F34-AB5C-7068B3B20A83}" destId="{E1C0B485-9163-43DC-AC60-71C6A3DA7E0D}" srcOrd="0" destOrd="0" presId="urn:microsoft.com/office/officeart/2005/8/layout/lProcess3"/>
    <dgm:cxn modelId="{7A7613FB-7BB8-4563-B99A-C5E7A4AD01E8}" srcId="{8562F6E3-1CEB-4080-AEE4-8301754FF76F}" destId="{1914B75E-B9D2-41A8-A9CD-E8707B1266E4}" srcOrd="0" destOrd="0" parTransId="{9535E349-426B-47E1-83DC-1C834C86551E}" sibTransId="{774B8B9B-B2EB-4CAF-B29E-7B87891997F0}"/>
    <dgm:cxn modelId="{3F3C56ED-6287-4344-AD51-D8A773DAC9DD}" type="presOf" srcId="{8562F6E3-1CEB-4080-AEE4-8301754FF76F}" destId="{4381E161-A4F0-4FE1-BA22-6791B92D3427}" srcOrd="0" destOrd="0" presId="urn:microsoft.com/office/officeart/2005/8/layout/lProcess3"/>
    <dgm:cxn modelId="{9F781323-B003-479D-8505-413E9F1E3F2F}" type="presOf" srcId="{92D4B9AB-5D0B-4C41-B9C0-B42464044879}" destId="{407B5FD5-F21A-4E3E-98B3-CC6F6D404A1B}" srcOrd="0" destOrd="0" presId="urn:microsoft.com/office/officeart/2005/8/layout/lProcess3"/>
    <dgm:cxn modelId="{34A9ABE9-90AE-4495-9ADE-000F14A46393}" srcId="{1914B75E-B9D2-41A8-A9CD-E8707B1266E4}" destId="{92D4B9AB-5D0B-4C41-B9C0-B42464044879}" srcOrd="0" destOrd="0" parTransId="{73A4A645-A5D9-4169-A8C9-00DB6F863864}" sibTransId="{AEF4A420-011B-4616-834F-C05EB978EABA}"/>
    <dgm:cxn modelId="{3E17A674-F336-4FD4-A7F1-82E3500D0477}" type="presOf" srcId="{1914B75E-B9D2-41A8-A9CD-E8707B1266E4}" destId="{3A6F04F4-2334-4FE9-B7E9-C81177569F7F}" srcOrd="0" destOrd="0" presId="urn:microsoft.com/office/officeart/2005/8/layout/lProcess3"/>
    <dgm:cxn modelId="{B7DC451B-158D-4CFE-88D6-B7AFEEE75BA5}" srcId="{1914B75E-B9D2-41A8-A9CD-E8707B1266E4}" destId="{707651A2-0F96-482B-8591-E035A1066318}" srcOrd="1" destOrd="0" parTransId="{E72DFCB4-BBAA-4211-A07E-1AD3179678ED}" sibTransId="{ECD7B789-26C6-4FDF-AFB8-09F75CAB0F9E}"/>
    <dgm:cxn modelId="{1E74ED48-3836-4389-B1DB-76E90C51F764}" type="presOf" srcId="{707651A2-0F96-482B-8591-E035A1066318}" destId="{B55A576B-82A6-444D-92CC-0E43399CBD5D}" srcOrd="0" destOrd="0" presId="urn:microsoft.com/office/officeart/2005/8/layout/lProcess3"/>
    <dgm:cxn modelId="{1924348F-F256-4A48-91E6-0441217C7511}" type="presParOf" srcId="{4381E161-A4F0-4FE1-BA22-6791B92D3427}" destId="{DAAFBEDF-B4C5-42CC-907F-BA7C0F6933F4}" srcOrd="0" destOrd="0" presId="urn:microsoft.com/office/officeart/2005/8/layout/lProcess3"/>
    <dgm:cxn modelId="{44305AA6-2EE3-4ECA-8E47-A76D47FB462B}" type="presParOf" srcId="{DAAFBEDF-B4C5-42CC-907F-BA7C0F6933F4}" destId="{3A6F04F4-2334-4FE9-B7E9-C81177569F7F}" srcOrd="0" destOrd="0" presId="urn:microsoft.com/office/officeart/2005/8/layout/lProcess3"/>
    <dgm:cxn modelId="{AB36356B-DD56-4095-AA2C-B7435BEDC1BC}" type="presParOf" srcId="{DAAFBEDF-B4C5-42CC-907F-BA7C0F6933F4}" destId="{2959F972-1F8F-49DB-9C2B-0BFD4269CF2C}" srcOrd="1" destOrd="0" presId="urn:microsoft.com/office/officeart/2005/8/layout/lProcess3"/>
    <dgm:cxn modelId="{5EAE22F1-9CAD-4213-A283-0726005D6CB3}" type="presParOf" srcId="{DAAFBEDF-B4C5-42CC-907F-BA7C0F6933F4}" destId="{407B5FD5-F21A-4E3E-98B3-CC6F6D404A1B}" srcOrd="2" destOrd="0" presId="urn:microsoft.com/office/officeart/2005/8/layout/lProcess3"/>
    <dgm:cxn modelId="{1A357ACC-FB5F-4A34-B96C-7D071216780E}" type="presParOf" srcId="{DAAFBEDF-B4C5-42CC-907F-BA7C0F6933F4}" destId="{42EB53CA-F8E7-4922-868D-2A83F38A5CED}" srcOrd="3" destOrd="0" presId="urn:microsoft.com/office/officeart/2005/8/layout/lProcess3"/>
    <dgm:cxn modelId="{FB517C6C-7517-4E1A-B4EE-304A66324839}" type="presParOf" srcId="{DAAFBEDF-B4C5-42CC-907F-BA7C0F6933F4}" destId="{B55A576B-82A6-444D-92CC-0E43399CBD5D}" srcOrd="4" destOrd="0" presId="urn:microsoft.com/office/officeart/2005/8/layout/lProcess3"/>
    <dgm:cxn modelId="{B6B2795F-01A9-4B2B-8C8E-ED7B20CB2630}" type="presParOf" srcId="{DAAFBEDF-B4C5-42CC-907F-BA7C0F6933F4}" destId="{08F11541-9DB7-4147-8DC7-EDD85BA5ECF3}" srcOrd="5" destOrd="0" presId="urn:microsoft.com/office/officeart/2005/8/layout/lProcess3"/>
    <dgm:cxn modelId="{050544F5-52F6-43B4-A374-346FE22BE1FF}" type="presParOf" srcId="{DAAFBEDF-B4C5-42CC-907F-BA7C0F6933F4}" destId="{E1C0B485-9163-43DC-AC60-71C6A3DA7E0D}" srcOrd="6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A6F04F4-2334-4FE9-B7E9-C81177569F7F}">
      <dsp:nvSpPr>
        <dsp:cNvPr id="0" name=""/>
        <dsp:cNvSpPr/>
      </dsp:nvSpPr>
      <dsp:spPr>
        <a:xfrm>
          <a:off x="243503" y="339"/>
          <a:ext cx="2492795" cy="791408"/>
        </a:xfrm>
        <a:prstGeom prst="chevron">
          <a:avLst/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Further Performance &amp; Scalability </a:t>
          </a:r>
        </a:p>
      </dsp:txBody>
      <dsp:txXfrm>
        <a:off x="639207" y="339"/>
        <a:ext cx="1701387" cy="791408"/>
      </dsp:txXfrm>
    </dsp:sp>
    <dsp:sp modelId="{407B5FD5-F21A-4E3E-98B3-CC6F6D404A1B}">
      <dsp:nvSpPr>
        <dsp:cNvPr id="0" name=""/>
        <dsp:cNvSpPr/>
      </dsp:nvSpPr>
      <dsp:spPr>
        <a:xfrm>
          <a:off x="2448273" y="341"/>
          <a:ext cx="2109670" cy="791404"/>
        </a:xfrm>
        <a:prstGeom prst="chevron">
          <a:avLst/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Control Systems Integration</a:t>
          </a:r>
        </a:p>
      </dsp:txBody>
      <dsp:txXfrm>
        <a:off x="2843975" y="341"/>
        <a:ext cx="1318266" cy="791404"/>
      </dsp:txXfrm>
    </dsp:sp>
    <dsp:sp modelId="{B55A576B-82A6-444D-92CC-0E43399CBD5D}">
      <dsp:nvSpPr>
        <dsp:cNvPr id="0" name=""/>
        <dsp:cNvSpPr/>
      </dsp:nvSpPr>
      <dsp:spPr>
        <a:xfrm>
          <a:off x="4269813" y="341"/>
          <a:ext cx="2195279" cy="791404"/>
        </a:xfrm>
        <a:prstGeom prst="chevron">
          <a:avLst/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Online analysis</a:t>
          </a:r>
        </a:p>
      </dsp:txBody>
      <dsp:txXfrm>
        <a:off x="4665515" y="341"/>
        <a:ext cx="1403875" cy="791404"/>
      </dsp:txXfrm>
    </dsp:sp>
    <dsp:sp modelId="{E1C0B485-9163-43DC-AC60-71C6A3DA7E0D}">
      <dsp:nvSpPr>
        <dsp:cNvPr id="0" name=""/>
        <dsp:cNvSpPr/>
      </dsp:nvSpPr>
      <dsp:spPr>
        <a:xfrm>
          <a:off x="6190993" y="8707"/>
          <a:ext cx="2632183" cy="775860"/>
        </a:xfrm>
        <a:prstGeom prst="chevron">
          <a:avLst/>
        </a:prstGeom>
        <a:noFill/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8890" rIns="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rPr>
            <a:t>Large scale deployment &amp; further extensions</a:t>
          </a:r>
        </a:p>
      </dsp:txBody>
      <dsp:txXfrm>
        <a:off x="6578923" y="8707"/>
        <a:ext cx="1856323" cy="7758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8709E4-6072-4206-A09D-57447F962C5E}" type="datetimeFigureOut">
              <a:rPr lang="en-GB" smtClean="0"/>
              <a:pPr/>
              <a:t>11/06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7327B0-3277-4758-B25E-AA3FDEA5C66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29959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iemens: intro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96629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iemens removing</a:t>
            </a:r>
            <a:r>
              <a:rPr lang="en-US" baseline="0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7FDAFB-B728-42B9-8FC8-70EC0229B550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9855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iemen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0889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Before value archiver (file based with low performances</a:t>
            </a:r>
            <a:r>
              <a:rPr lang="en-GB" baseline="0" dirty="0" smtClean="0"/>
              <a:t> when compared to DB</a:t>
            </a:r>
            <a:r>
              <a:rPr lang="en-GB" dirty="0" smtClean="0"/>
              <a:t>)</a:t>
            </a:r>
          </a:p>
          <a:p>
            <a:r>
              <a:rPr lang="en-GB" dirty="0" smtClean="0"/>
              <a:t>Overflow RDB Manger buffer</a:t>
            </a:r>
          </a:p>
          <a:p>
            <a:r>
              <a:rPr lang="en-GB" dirty="0" smtClean="0"/>
              <a:t>1DB per project?</a:t>
            </a:r>
          </a:p>
          <a:p>
            <a:endParaRPr lang="en-GB" dirty="0" smtClean="0"/>
          </a:p>
          <a:p>
            <a:r>
              <a:rPr lang="en-GB" dirty="0" smtClean="0"/>
              <a:t>Data</a:t>
            </a:r>
            <a:r>
              <a:rPr lang="en-GB" baseline="0" dirty="0" smtClean="0"/>
              <a:t> schema reduction</a:t>
            </a:r>
          </a:p>
          <a:p>
            <a:r>
              <a:rPr lang="en-GB" baseline="0" dirty="0" smtClean="0"/>
              <a:t>Bug fixing in WinCC OA core code</a:t>
            </a:r>
          </a:p>
          <a:p>
            <a:r>
              <a:rPr lang="en-GB" baseline="0" dirty="0" smtClean="0"/>
              <a:t>Direct access to the DB by shared lib </a:t>
            </a:r>
            <a:endParaRPr lang="en-GB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47596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imple  SOAP based interface for external</a:t>
            </a:r>
            <a:r>
              <a:rPr lang="en-GB" baseline="0" dirty="0" smtClean="0"/>
              <a:t> tools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994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iemens: top part</a:t>
            </a:r>
          </a:p>
          <a:p>
            <a:r>
              <a:rPr lang="en-GB" dirty="0" smtClean="0"/>
              <a:t>CERN:</a:t>
            </a:r>
            <a:r>
              <a:rPr lang="en-GB" baseline="0" dirty="0" smtClean="0"/>
              <a:t> bottom par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11429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tatus</a:t>
            </a:r>
            <a:r>
              <a:rPr lang="en-GB" baseline="0" dirty="0" smtClean="0"/>
              <a:t> from CERN</a:t>
            </a:r>
          </a:p>
          <a:p>
            <a:r>
              <a:rPr lang="en-GB" baseline="0" smtClean="0"/>
              <a:t>Next steps from Siemen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11429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7FDAFB-B728-42B9-8FC8-70EC0229B550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noFill/>
        </p:spPr>
      </p:sp>
      <p:sp>
        <p:nvSpPr>
          <p:cNvPr id="191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37120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lvl="1" indent="-342900">
              <a:buSzPct val="150000"/>
              <a:buFont typeface="Arial" panose="020B0604020202020204" pitchFamily="34" charset="0"/>
              <a:buChar char="›"/>
            </a:pPr>
            <a:r>
              <a:rPr lang="en-US" sz="3200" b="1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Supervisory control systems for: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Water plant networks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Oil &amp; Gas pipelines and production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Energy supplies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Undergrounds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Traffic management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Building automation</a:t>
            </a:r>
          </a:p>
          <a:p>
            <a:pPr lvl="1"/>
            <a:r>
              <a:rPr lang="en-US" sz="2500" kern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Passenger information systems</a:t>
            </a:r>
          </a:p>
        </p:txBody>
      </p:sp>
    </p:spTree>
    <p:extLst>
      <p:ext uri="{BB962C8B-B14F-4D97-AF65-F5344CB8AC3E}">
        <p14:creationId xmlns:p14="http://schemas.microsoft.com/office/powerpoint/2010/main" val="21186495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lvl="1" indent="-342900">
              <a:buSzPct val="150000"/>
              <a:buFont typeface="Arial" panose="020B0604020202020204" pitchFamily="34" charset="0"/>
              <a:buNone/>
            </a:pPr>
            <a:endParaRPr lang="en-US" sz="25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695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lvl="1" indent="-342900">
              <a:buSzPct val="150000"/>
              <a:buFont typeface="Arial" panose="020B0604020202020204" pitchFamily="34" charset="0"/>
              <a:buNone/>
            </a:pPr>
            <a:endParaRPr lang="en-US" sz="25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46431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noFill/>
        </p:spPr>
      </p:sp>
      <p:sp>
        <p:nvSpPr>
          <p:cNvPr id="18637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342900" lvl="1" indent="-342900">
              <a:buSzPct val="150000"/>
              <a:buFont typeface="Arial" panose="020B0604020202020204" pitchFamily="34" charset="0"/>
              <a:buNone/>
            </a:pPr>
            <a:endParaRPr lang="en-US" sz="2500" kern="1200" dirty="0" smtClean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2401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Used </a:t>
            </a:r>
            <a:r>
              <a:rPr lang="en-US" b="1" baseline="0" dirty="0" smtClean="0"/>
              <a:t>in m</a:t>
            </a:r>
            <a:r>
              <a:rPr lang="en-US" b="1" dirty="0" smtClean="0"/>
              <a:t>any industrial sectors: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Water plant network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Oil &amp; Gas pipelines and production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Energy suppli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Underground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Traffic management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Building automation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Passenger information system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28292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ERN</a:t>
            </a:r>
          </a:p>
          <a:p>
            <a:r>
              <a:rPr lang="en-GB" dirty="0" smtClean="0"/>
              <a:t>-Collaboration</a:t>
            </a:r>
            <a:r>
              <a:rPr lang="en-GB" baseline="0" dirty="0" smtClean="0"/>
              <a:t> with Siemens is long term and in many areas</a:t>
            </a:r>
          </a:p>
          <a:p>
            <a:r>
              <a:rPr lang="en-GB" baseline="0" dirty="0" smtClean="0"/>
              <a:t>-Large base of systems installed at CERN. They produce large amounts of data </a:t>
            </a:r>
            <a:r>
              <a:rPr lang="en-GB" baseline="0" dirty="0" smtClean="0">
                <a:sym typeface="Wingdings" panose="05000000000000000000" pitchFamily="2" charset="2"/>
              </a:rPr>
              <a:t> suited for the data analysis framework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16842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3</a:t>
            </a:r>
            <a:r>
              <a:rPr lang="en-GB" baseline="0" dirty="0" smtClean="0"/>
              <a:t> activities for the same projec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7327B0-3277-4758-B25E-AA3FDEA5C664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6815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788024" y="2346450"/>
            <a:ext cx="3888432" cy="1658614"/>
          </a:xfrm>
        </p:spPr>
        <p:txBody>
          <a:bodyPr anchor="ctr" anchorCtr="0"/>
          <a:lstStyle>
            <a:lvl1pPr>
              <a:defRPr/>
            </a:lvl1pPr>
          </a:lstStyle>
          <a:p>
            <a:r>
              <a:rPr lang="en-US" dirty="0" smtClean="0"/>
              <a:t>Title of the Presentatio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88024" y="4149080"/>
            <a:ext cx="3888432" cy="1968219"/>
          </a:xfrm>
        </p:spPr>
        <p:txBody>
          <a:bodyPr>
            <a:normAutofit/>
          </a:bodyPr>
          <a:lstStyle>
            <a:lvl1pPr marL="0" indent="0" algn="r">
              <a:buNone/>
              <a:defRPr sz="1800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onference/Meeting Name</a:t>
            </a:r>
            <a:br>
              <a:rPr lang="en-US" dirty="0" smtClean="0"/>
            </a:br>
            <a:r>
              <a:rPr lang="en-US" dirty="0" smtClean="0"/>
              <a:t>Author 1 First and Family Names</a:t>
            </a:r>
            <a:br>
              <a:rPr lang="en-US" dirty="0" smtClean="0"/>
            </a:br>
            <a:r>
              <a:rPr lang="en-US" dirty="0" smtClean="0"/>
              <a:t>Author 2 First and Family Names</a:t>
            </a:r>
            <a:br>
              <a:rPr lang="en-US" dirty="0" smtClean="0"/>
            </a:br>
            <a:r>
              <a:rPr lang="en-US" dirty="0" smtClean="0"/>
              <a:t>Etc.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1403350" y="4149079"/>
            <a:ext cx="2376488" cy="1872837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xx/xx/201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4296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06784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80842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6770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lang="en-US" sz="3200" b="1" kern="12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 smtClean="0"/>
              <a:t>22 Oct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Siemens CERN LiveMeeting – CERN openlab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7047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3648" y="3236978"/>
            <a:ext cx="7283152" cy="288918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403350" y="1701800"/>
            <a:ext cx="7272338" cy="1246717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8212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4000" b="1" cap="none" baseline="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 smtClean="0"/>
              <a:t>12 Feb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55853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9724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defRPr lang="en-US" sz="2000" dirty="0" smtClean="0"/>
            </a:lvl1pPr>
          </a:lstStyle>
          <a:p>
            <a:pPr marL="0" lvl="0" indent="0"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26171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7544" y="1548714"/>
            <a:ext cx="3959994" cy="4568453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073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68314" y="1604434"/>
            <a:ext cx="3959225" cy="4512733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44973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-3560" y="1535113"/>
            <a:ext cx="3135400" cy="741760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000" dirty="0" smtClean="0"/>
            </a:lvl1pPr>
          </a:lstStyle>
          <a:p>
            <a:pPr marL="0" lvl="0" indent="0">
              <a:buNone/>
            </a:pPr>
            <a:r>
              <a:rPr lang="en-US" dirty="0" smtClean="0"/>
              <a:t>Pictures/Diagram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19873" y="1535113"/>
            <a:ext cx="5266929" cy="639763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19873" y="2174875"/>
            <a:ext cx="5266929" cy="3951288"/>
          </a:xfrm>
        </p:spPr>
        <p:txBody>
          <a:bodyPr/>
          <a:lstStyle>
            <a:lvl1pPr>
              <a:defRPr sz="18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smtClean="0"/>
              <a:t>xx/xx/2014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First Name and Family Name – CERN openlab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0" y="2512641"/>
            <a:ext cx="3131840" cy="741760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000" dirty="0" smtClean="0"/>
            </a:lvl1pPr>
          </a:lstStyle>
          <a:p>
            <a:pPr marL="0" lvl="0" indent="0">
              <a:buNone/>
            </a:pPr>
            <a:r>
              <a:rPr lang="en-US" dirty="0" smtClean="0"/>
              <a:t>Pictures/Diagram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-20535" y="3490169"/>
            <a:ext cx="3135400" cy="741760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000" dirty="0" smtClean="0"/>
            </a:lvl1pPr>
          </a:lstStyle>
          <a:p>
            <a:pPr marL="0" lvl="0" indent="0">
              <a:buNone/>
            </a:pPr>
            <a:r>
              <a:rPr lang="en-US" dirty="0" smtClean="0"/>
              <a:t>Pictures/Diagram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0" y="4467697"/>
            <a:ext cx="3131840" cy="741760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000" dirty="0" smtClean="0"/>
            </a:lvl1pPr>
          </a:lstStyle>
          <a:p>
            <a:pPr marL="0" lvl="0" indent="0">
              <a:buNone/>
            </a:pPr>
            <a:r>
              <a:rPr lang="en-US" dirty="0" smtClean="0"/>
              <a:t>Pictures/Diagram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22496" y="5445224"/>
            <a:ext cx="3109345" cy="741760"/>
          </a:xfr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lang="en-US" sz="2000" dirty="0" smtClean="0"/>
            </a:lvl1pPr>
          </a:lstStyle>
          <a:p>
            <a:pPr marL="0" lvl="0" indent="0">
              <a:buNone/>
            </a:pPr>
            <a:r>
              <a:rPr lang="en-US" dirty="0" smtClean="0"/>
              <a:t>Pictures/Diagrams</a:t>
            </a:r>
          </a:p>
        </p:txBody>
      </p:sp>
    </p:spTree>
    <p:extLst>
      <p:ext uri="{BB962C8B-B14F-4D97-AF65-F5344CB8AC3E}">
        <p14:creationId xmlns:p14="http://schemas.microsoft.com/office/powerpoint/2010/main" val="2140815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17" imgW="216" imgH="216" progId="">
                  <p:embed/>
                </p:oleObj>
              </mc:Choice>
              <mc:Fallback>
                <p:oleObj name="think-cell Slide" r:id="rId17" imgW="216" imgH="216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3648" y="1600201"/>
            <a:ext cx="728315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GB" dirty="0" smtClean="0"/>
              <a:t>13 Feb 2014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43808" y="6356351"/>
            <a:ext cx="34563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CH" dirty="0" smtClean="0"/>
              <a:t>Filippo Tilaro – CERN </a:t>
            </a:r>
            <a:r>
              <a:rPr lang="fr-CH" dirty="0" err="1" smtClean="0"/>
              <a:t>openlab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94EB1264-2DC2-4921-94A1-13F831F55EA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4121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1" r:id="rId4"/>
    <p:sldLayoutId id="2147483652" r:id="rId5"/>
    <p:sldLayoutId id="2147483653" r:id="rId6"/>
    <p:sldLayoutId id="2147483660" r:id="rId7"/>
    <p:sldLayoutId id="2147483671" r:id="rId8"/>
    <p:sldLayoutId id="2147483669" r:id="rId9"/>
    <p:sldLayoutId id="2147483654" r:id="rId10"/>
    <p:sldLayoutId id="2147483655" r:id="rId11"/>
    <p:sldLayoutId id="2147483657" r:id="rId12"/>
  </p:sldLayoutIdLst>
  <p:timing>
    <p:tnLst>
      <p:par>
        <p:cTn id="1" dur="indefinite" restart="never" nodeType="tmRoot"/>
      </p:par>
    </p:tnLst>
  </p:timing>
  <p:hf hdr="0"/>
  <p:txStyles>
    <p:titleStyle>
      <a:lvl1pPr algn="r" defTabSz="914400" rtl="0" eaLnBrk="1" latinLnBrk="0" hangingPunct="1">
        <a:spcBef>
          <a:spcPct val="0"/>
        </a:spcBef>
        <a:buNone/>
        <a:defRPr sz="3200" b="1" kern="1200">
          <a:solidFill>
            <a:srgbClr val="222268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150000"/>
        <a:buFont typeface="Arial" panose="020B0604020202020204" pitchFamily="34" charset="0"/>
        <a:buChar char="›"/>
        <a:defRPr sz="2800" b="1" kern="1200">
          <a:solidFill>
            <a:srgbClr val="222268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2400" kern="1200">
          <a:solidFill>
            <a:srgbClr val="222268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̵"/>
        <a:defRPr sz="2400" kern="1200">
          <a:solidFill>
            <a:srgbClr val="222268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000" kern="1200">
          <a:solidFill>
            <a:srgbClr val="222268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anose="020B0604020202020204" pitchFamily="34" charset="0"/>
        <a:buChar char="∙"/>
        <a:defRPr sz="1600" kern="1200">
          <a:solidFill>
            <a:srgbClr val="22226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12" Type="http://schemas.openxmlformats.org/officeDocument/2006/relationships/image" Target="../media/image29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wmf"/><Relationship Id="rId15" Type="http://schemas.microsoft.com/office/2007/relationships/hdphoto" Target="../media/hdphoto1.wdp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Relationship Id="rId1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microsoft.com/office/2007/relationships/hdphoto" Target="../media/hdphoto1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1.emf"/><Relationship Id="rId18" Type="http://schemas.openxmlformats.org/officeDocument/2006/relationships/image" Target="../media/image36.jpeg"/><Relationship Id="rId26" Type="http://schemas.openxmlformats.org/officeDocument/2006/relationships/image" Target="../media/image40.png"/><Relationship Id="rId3" Type="http://schemas.openxmlformats.org/officeDocument/2006/relationships/tags" Target="../tags/tag58.xml"/><Relationship Id="rId21" Type="http://schemas.openxmlformats.org/officeDocument/2006/relationships/image" Target="../media/image39.jpeg"/><Relationship Id="rId7" Type="http://schemas.openxmlformats.org/officeDocument/2006/relationships/tags" Target="../tags/tag62.xml"/><Relationship Id="rId12" Type="http://schemas.openxmlformats.org/officeDocument/2006/relationships/oleObject" Target="../embeddings/oleObject4.bin"/><Relationship Id="rId17" Type="http://schemas.openxmlformats.org/officeDocument/2006/relationships/image" Target="../media/image35.png"/><Relationship Id="rId25" Type="http://schemas.openxmlformats.org/officeDocument/2006/relationships/image" Target="../media/image21.png"/><Relationship Id="rId2" Type="http://schemas.openxmlformats.org/officeDocument/2006/relationships/tags" Target="../tags/tag57.xml"/><Relationship Id="rId16" Type="http://schemas.openxmlformats.org/officeDocument/2006/relationships/image" Target="../media/image34.gif"/><Relationship Id="rId20" Type="http://schemas.openxmlformats.org/officeDocument/2006/relationships/image" Target="../media/image38.png"/><Relationship Id="rId1" Type="http://schemas.openxmlformats.org/officeDocument/2006/relationships/vmlDrawing" Target="../drawings/vmlDrawing4.vml"/><Relationship Id="rId6" Type="http://schemas.openxmlformats.org/officeDocument/2006/relationships/tags" Target="../tags/tag61.xml"/><Relationship Id="rId11" Type="http://schemas.openxmlformats.org/officeDocument/2006/relationships/notesSlide" Target="../notesSlides/notesSlide10.xml"/><Relationship Id="rId24" Type="http://schemas.openxmlformats.org/officeDocument/2006/relationships/image" Target="../media/image20.jpeg"/><Relationship Id="rId5" Type="http://schemas.openxmlformats.org/officeDocument/2006/relationships/tags" Target="../tags/tag60.xml"/><Relationship Id="rId15" Type="http://schemas.microsoft.com/office/2007/relationships/hdphoto" Target="../media/hdphoto1.wdp"/><Relationship Id="rId23" Type="http://schemas.openxmlformats.org/officeDocument/2006/relationships/image" Target="../media/image31.png"/><Relationship Id="rId10" Type="http://schemas.openxmlformats.org/officeDocument/2006/relationships/slideLayout" Target="../slideLayouts/slideLayout11.xml"/><Relationship Id="rId19" Type="http://schemas.openxmlformats.org/officeDocument/2006/relationships/image" Target="../media/image37.jpeg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image" Target="../media/image5.png"/><Relationship Id="rId22" Type="http://schemas.openxmlformats.org/officeDocument/2006/relationships/image" Target="../media/image26.png"/><Relationship Id="rId27" Type="http://schemas.openxmlformats.org/officeDocument/2006/relationships/image" Target="../media/image41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2.png"/><Relationship Id="rId12" Type="http://schemas.openxmlformats.org/officeDocument/2006/relationships/image" Target="../media/image45.png"/><Relationship Id="rId2" Type="http://schemas.openxmlformats.org/officeDocument/2006/relationships/tags" Target="../tags/tag6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44.png"/><Relationship Id="rId5" Type="http://schemas.openxmlformats.org/officeDocument/2006/relationships/oleObject" Target="../embeddings/oleObject5.bin"/><Relationship Id="rId10" Type="http://schemas.microsoft.com/office/2007/relationships/hdphoto" Target="../media/hdphoto1.wdp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5.png"/><Relationship Id="rId7" Type="http://schemas.openxmlformats.org/officeDocument/2006/relationships/image" Target="../media/image49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microsoft.com/office/2007/relationships/hdphoto" Target="../media/hdphoto1.wdp"/><Relationship Id="rId9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microsoft.com/office/2007/relationships/hdphoto" Target="../media/hdphoto1.wdp"/><Relationship Id="rId7" Type="http://schemas.openxmlformats.org/officeDocument/2006/relationships/image" Target="../media/image5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11" Type="http://schemas.openxmlformats.org/officeDocument/2006/relationships/image" Target="../media/image60.jpe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jpe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5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jpeg"/><Relationship Id="rId5" Type="http://schemas.openxmlformats.org/officeDocument/2006/relationships/image" Target="../media/image26.png"/><Relationship Id="rId10" Type="http://schemas.openxmlformats.org/officeDocument/2006/relationships/image" Target="../media/image66.gif"/><Relationship Id="rId4" Type="http://schemas.microsoft.com/office/2007/relationships/hdphoto" Target="../media/hdphoto1.wdp"/><Relationship Id="rId9" Type="http://schemas.openxmlformats.org/officeDocument/2006/relationships/image" Target="../media/image5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69.jpeg"/><Relationship Id="rId12" Type="http://schemas.openxmlformats.org/officeDocument/2006/relationships/image" Target="../media/image7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8.jpeg"/><Relationship Id="rId11" Type="http://schemas.microsoft.com/office/2007/relationships/hdphoto" Target="../media/hdphoto1.wdp"/><Relationship Id="rId5" Type="http://schemas.openxmlformats.org/officeDocument/2006/relationships/image" Target="../media/image67.jpeg"/><Relationship Id="rId10" Type="http://schemas.openxmlformats.org/officeDocument/2006/relationships/image" Target="../media/image5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9.jpeg"/><Relationship Id="rId2" Type="http://schemas.openxmlformats.org/officeDocument/2006/relationships/tags" Target="../tags/tag3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.jpeg"/><Relationship Id="rId5" Type="http://schemas.openxmlformats.org/officeDocument/2006/relationships/tags" Target="../tags/tag6.xml"/><Relationship Id="rId15" Type="http://schemas.openxmlformats.org/officeDocument/2006/relationships/image" Target="../media/image5.png"/><Relationship Id="rId10" Type="http://schemas.openxmlformats.org/officeDocument/2006/relationships/image" Target="../media/image7.jpeg"/><Relationship Id="rId4" Type="http://schemas.openxmlformats.org/officeDocument/2006/relationships/tags" Target="../tags/tag5.xml"/><Relationship Id="rId9" Type="http://schemas.openxmlformats.org/officeDocument/2006/relationships/image" Target="../media/image6.emf"/><Relationship Id="rId1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microsoft.com/office/2007/relationships/diagramDrawing" Target="../diagrams/drawing1.xml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.png"/><Relationship Id="rId12" Type="http://schemas.openxmlformats.org/officeDocument/2006/relationships/diagramColors" Target="../diagrams/colors1.xml"/><Relationship Id="rId2" Type="http://schemas.openxmlformats.org/officeDocument/2006/relationships/tags" Target="../tags/tag6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1.xml"/><Relationship Id="rId5" Type="http://schemas.openxmlformats.org/officeDocument/2006/relationships/oleObject" Target="../embeddings/oleObject7.bin"/><Relationship Id="rId10" Type="http://schemas.openxmlformats.org/officeDocument/2006/relationships/diagramLayout" Target="../diagrams/layout1.xml"/><Relationship Id="rId4" Type="http://schemas.openxmlformats.org/officeDocument/2006/relationships/notesSlide" Target="../notesSlides/notesSlide15.xml"/><Relationship Id="rId9" Type="http://schemas.openxmlformats.org/officeDocument/2006/relationships/diagramData" Target="../diagrams/data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7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microsoft.com/office/2007/relationships/hdphoto" Target="../media/hdphoto1.wdp"/><Relationship Id="rId4" Type="http://schemas.openxmlformats.org/officeDocument/2006/relationships/image" Target="../media/image12.jpeg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8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47" Type="http://schemas.openxmlformats.org/officeDocument/2006/relationships/image" Target="../media/image5.png"/><Relationship Id="rId50" Type="http://schemas.openxmlformats.org/officeDocument/2006/relationships/image" Target="../media/image18.pn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41" Type="http://schemas.openxmlformats.org/officeDocument/2006/relationships/tags" Target="../tags/tag51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image" Target="../media/image17.jpe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microsoft.com/office/2007/relationships/hdphoto" Target="../media/hdphoto1.wdp"/><Relationship Id="rId8" Type="http://schemas.openxmlformats.org/officeDocument/2006/relationships/tags" Target="../tags/tag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923928" y="2346450"/>
            <a:ext cx="4752528" cy="1658614"/>
          </a:xfrm>
        </p:spPr>
        <p:txBody>
          <a:bodyPr>
            <a:noAutofit/>
          </a:bodyPr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Smart Technologies for Large Control Systems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1259632" y="4149079"/>
            <a:ext cx="2376488" cy="1872837"/>
          </a:xfrm>
        </p:spPr>
        <p:txBody>
          <a:bodyPr/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10</a:t>
            </a:r>
            <a:r>
              <a:rPr lang="en-GB" baseline="30000" dirty="0" smtClean="0">
                <a:solidFill>
                  <a:schemeClr val="accent1">
                    <a:lumMod val="75000"/>
                  </a:schemeClr>
                </a:solidFill>
              </a:rPr>
              <a:t>th</a:t>
            </a:r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 June 2015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860032" y="3501008"/>
            <a:ext cx="3816424" cy="165861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r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rgbClr val="222268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500" dirty="0" smtClean="0">
                <a:solidFill>
                  <a:srgbClr val="0066CC"/>
                </a:solidFill>
              </a:rPr>
              <a:t> </a:t>
            </a:r>
          </a:p>
          <a:p>
            <a:r>
              <a:rPr lang="en-GB" sz="2500" dirty="0" smtClean="0">
                <a:solidFill>
                  <a:schemeClr val="accent1"/>
                </a:solidFill>
              </a:rPr>
              <a:t>CERN Open </a:t>
            </a:r>
            <a:r>
              <a:rPr lang="en-GB" sz="2500" dirty="0">
                <a:solidFill>
                  <a:schemeClr val="accent1"/>
                </a:solidFill>
              </a:rPr>
              <a:t>Day</a:t>
            </a:r>
            <a:endParaRPr lang="en-GB" sz="2500" dirty="0">
              <a:solidFill>
                <a:srgbClr val="0066CC"/>
              </a:solidFill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7970" y="6503027"/>
            <a:ext cx="1249725" cy="29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/>
        </p:nvCxnSpPr>
        <p:spPr>
          <a:xfrm>
            <a:off x="7317825" y="6484237"/>
            <a:ext cx="137469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ubtitle 7"/>
          <p:cNvSpPr>
            <a:spLocks noGrp="1"/>
          </p:cNvSpPr>
          <p:nvPr>
            <p:ph type="subTitle" idx="1"/>
          </p:nvPr>
        </p:nvSpPr>
        <p:spPr>
          <a:xfrm>
            <a:off x="4788024" y="4725143"/>
            <a:ext cx="3888432" cy="864097"/>
          </a:xfrm>
        </p:spPr>
        <p:txBody>
          <a:bodyPr>
            <a:noAutofit/>
          </a:bodyPr>
          <a:lstStyle/>
          <a:p>
            <a:r>
              <a:rPr lang="en-GB" sz="1600" b="0" i="1" dirty="0">
                <a:solidFill>
                  <a:schemeClr val="accent1">
                    <a:lumMod val="75000"/>
                  </a:schemeClr>
                </a:solidFill>
              </a:rPr>
              <a:t>Elisabeth Bakany, </a:t>
            </a:r>
            <a:r>
              <a:rPr lang="en-GB" sz="1600" b="0" i="1" dirty="0" smtClean="0">
                <a:solidFill>
                  <a:schemeClr val="accent1">
                    <a:lumMod val="75000"/>
                  </a:schemeClr>
                </a:solidFill>
              </a:rPr>
              <a:t>Siemens-ETM</a:t>
            </a:r>
            <a:endParaRPr lang="en-GB" sz="1600" b="0" i="1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GB" sz="1600" b="0" i="1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ilippo Tilaro, </a:t>
            </a:r>
            <a:r>
              <a:rPr lang="en-GB" sz="1600" b="0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ERN</a:t>
            </a:r>
            <a:endParaRPr lang="en-GB" sz="1600" b="0" i="1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71353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extBox 189"/>
          <p:cNvSpPr txBox="1"/>
          <p:nvPr/>
        </p:nvSpPr>
        <p:spPr bwMode="auto">
          <a:xfrm>
            <a:off x="8499383" y="3660853"/>
            <a:ext cx="825145" cy="28629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0" dirty="0" smtClean="0">
                <a:solidFill>
                  <a:srgbClr val="15539C"/>
                </a:solidFill>
                <a:latin typeface="+mn-lt"/>
              </a:rPr>
              <a:t>OP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Typical Control System Architecture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Siemens CERN </a:t>
            </a:r>
            <a:r>
              <a:rPr lang="pl-PL" dirty="0" smtClean="0"/>
              <a:t>o</a:t>
            </a:r>
            <a:r>
              <a:rPr lang="en-GB" dirty="0" smtClean="0"/>
              <a:t>penlab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10</a:t>
            </a:fld>
            <a:endParaRPr lang="en-GB" dirty="0"/>
          </a:p>
        </p:txBody>
      </p:sp>
      <p:cxnSp>
        <p:nvCxnSpPr>
          <p:cNvPr id="23" name="Straight Connector 22"/>
          <p:cNvCxnSpPr/>
          <p:nvPr/>
        </p:nvCxnSpPr>
        <p:spPr>
          <a:xfrm rot="5400000">
            <a:off x="5034431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rot="5400000">
            <a:off x="5210385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rot="5400000">
            <a:off x="4583709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rot="5400000">
            <a:off x="4390543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rot="5400000">
            <a:off x="3682265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rot="5400000">
            <a:off x="3365105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rot="5400000">
            <a:off x="3102766" y="5661586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3304376" y="5385782"/>
            <a:ext cx="2781897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116"/>
          <p:cNvSpPr txBox="1">
            <a:spLocks noChangeArrowheads="1"/>
          </p:cNvSpPr>
          <p:nvPr/>
        </p:nvSpPr>
        <p:spPr bwMode="auto">
          <a:xfrm>
            <a:off x="5282158" y="5071235"/>
            <a:ext cx="107382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Fieldbus</a:t>
            </a:r>
            <a:endParaRPr lang="en-US" sz="1400" b="0" dirty="0">
              <a:solidFill>
                <a:srgbClr val="15539C"/>
              </a:solidFill>
              <a:latin typeface="+mn-lt"/>
            </a:endParaRPr>
          </a:p>
        </p:txBody>
      </p:sp>
      <p:pic>
        <p:nvPicPr>
          <p:cNvPr id="32" name="Picture 31" descr="SI_PS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42583" y="5702235"/>
            <a:ext cx="215768" cy="382198"/>
          </a:xfrm>
          <a:prstGeom prst="rect">
            <a:avLst/>
          </a:prstGeom>
          <a:solidFill>
            <a:schemeClr val="accent1">
              <a:alpha val="29019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33" name="Picture 32" descr="SI_PS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9960" y="5848165"/>
            <a:ext cx="220027" cy="389147"/>
          </a:xfrm>
          <a:prstGeom prst="rect">
            <a:avLst/>
          </a:prstGeom>
          <a:solidFill>
            <a:schemeClr val="accent1">
              <a:alpha val="29019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34" name="Picture 33" descr="C:\Documents and Settings\Enrique Blanco.PCEBHOME\Desktop\presentations\flowmeter.T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92727" y="5665752"/>
            <a:ext cx="178860" cy="331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34" descr="C:\Documents and Settings\Enrique Blanco.PCEBHOME\Desktop\presentations\flowmeter.T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84363" y="5761302"/>
            <a:ext cx="178860" cy="331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Object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88813" y="5726557"/>
            <a:ext cx="562134" cy="41520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</p:pic>
      <p:pic>
        <p:nvPicPr>
          <p:cNvPr id="37" name="Picture 3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31840" y="5743441"/>
            <a:ext cx="332169" cy="27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47743" y="5858589"/>
            <a:ext cx="332169" cy="27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9" name="Straight Connector 38"/>
          <p:cNvCxnSpPr>
            <a:endCxn id="119" idx="0"/>
          </p:cNvCxnSpPr>
          <p:nvPr/>
        </p:nvCxnSpPr>
        <p:spPr>
          <a:xfrm>
            <a:off x="4383813" y="3297374"/>
            <a:ext cx="1" cy="3928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Elbow Connector 39"/>
          <p:cNvCxnSpPr>
            <a:cxnSpLocks noChangeShapeType="1"/>
          </p:cNvCxnSpPr>
          <p:nvPr/>
        </p:nvCxnSpPr>
        <p:spPr bwMode="auto">
          <a:xfrm>
            <a:off x="4680143" y="3978138"/>
            <a:ext cx="308148" cy="777235"/>
          </a:xfrm>
          <a:prstGeom prst="bentConnector2">
            <a:avLst/>
          </a:prstGeom>
          <a:noFill/>
          <a:ln w="9525" algn="ctr">
            <a:solidFill>
              <a:srgbClr val="FF0000"/>
            </a:solidFill>
            <a:prstDash val="sysDash"/>
            <a:round/>
            <a:headEnd/>
            <a:tailEnd/>
          </a:ln>
        </p:spPr>
      </p:cxnSp>
      <p:cxnSp>
        <p:nvCxnSpPr>
          <p:cNvPr id="41" name="Straight Connector 40"/>
          <p:cNvCxnSpPr/>
          <p:nvPr/>
        </p:nvCxnSpPr>
        <p:spPr>
          <a:xfrm>
            <a:off x="3507347" y="3287547"/>
            <a:ext cx="5239677" cy="14618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116"/>
          <p:cNvSpPr txBox="1">
            <a:spLocks noChangeArrowheads="1"/>
          </p:cNvSpPr>
          <p:nvPr/>
        </p:nvSpPr>
        <p:spPr bwMode="auto">
          <a:xfrm>
            <a:off x="8678185" y="3101933"/>
            <a:ext cx="42351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0" dirty="0">
                <a:solidFill>
                  <a:srgbClr val="15539C"/>
                </a:solidFill>
                <a:latin typeface="+mn-lt"/>
              </a:rPr>
              <a:t>TN</a:t>
            </a:r>
          </a:p>
        </p:txBody>
      </p:sp>
      <p:cxnSp>
        <p:nvCxnSpPr>
          <p:cNvPr id="43" name="Straight Connector 42"/>
          <p:cNvCxnSpPr/>
          <p:nvPr/>
        </p:nvCxnSpPr>
        <p:spPr>
          <a:xfrm flipH="1">
            <a:off x="3507347" y="3287547"/>
            <a:ext cx="10225" cy="115262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>
            <a:endCxn id="49" idx="0"/>
          </p:cNvCxnSpPr>
          <p:nvPr/>
        </p:nvCxnSpPr>
        <p:spPr>
          <a:xfrm>
            <a:off x="5117068" y="3321615"/>
            <a:ext cx="0" cy="103975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cxnSpLocks noChangeShapeType="1"/>
          </p:cNvCxnSpPr>
          <p:nvPr/>
        </p:nvCxnSpPr>
        <p:spPr bwMode="auto">
          <a:xfrm rot="10800000" flipV="1">
            <a:off x="3636126" y="3978137"/>
            <a:ext cx="415168" cy="777235"/>
          </a:xfrm>
          <a:prstGeom prst="bentConnector2">
            <a:avLst/>
          </a:prstGeom>
          <a:noFill/>
          <a:ln w="9525" algn="ctr">
            <a:solidFill>
              <a:srgbClr val="FF0000"/>
            </a:solidFill>
            <a:prstDash val="sysDash"/>
            <a:round/>
            <a:headEnd/>
            <a:tailEnd/>
          </a:ln>
        </p:spPr>
      </p:cxnSp>
      <p:cxnSp>
        <p:nvCxnSpPr>
          <p:cNvPr id="48" name="Straight Connector 47"/>
          <p:cNvCxnSpPr/>
          <p:nvPr/>
        </p:nvCxnSpPr>
        <p:spPr>
          <a:xfrm rot="5400000">
            <a:off x="4776876" y="5109978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 descr="cpu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859513" y="4361368"/>
            <a:ext cx="515111" cy="660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0" name="Straight Connector 49"/>
          <p:cNvCxnSpPr/>
          <p:nvPr/>
        </p:nvCxnSpPr>
        <p:spPr>
          <a:xfrm rot="5400000">
            <a:off x="3231543" y="5109978"/>
            <a:ext cx="551608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Picture 50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9792" y="4440169"/>
            <a:ext cx="515111" cy="472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172"/>
          <p:cNvSpPr txBox="1"/>
          <p:nvPr/>
        </p:nvSpPr>
        <p:spPr bwMode="auto">
          <a:xfrm>
            <a:off x="4086847" y="4597771"/>
            <a:ext cx="7082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PLCs</a:t>
            </a:r>
            <a:endParaRPr lang="en-US" sz="1400" b="0" dirty="0">
              <a:solidFill>
                <a:srgbClr val="15539C"/>
              </a:solidFill>
              <a:latin typeface="+mn-lt"/>
            </a:endParaRPr>
          </a:p>
        </p:txBody>
      </p:sp>
      <p:sp>
        <p:nvSpPr>
          <p:cNvPr id="53" name="TextBox 173"/>
          <p:cNvSpPr txBox="1"/>
          <p:nvPr/>
        </p:nvSpPr>
        <p:spPr bwMode="auto">
          <a:xfrm>
            <a:off x="5633898" y="5453447"/>
            <a:ext cx="8262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Sensors </a:t>
            </a: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&amp;</a:t>
            </a:r>
          </a:p>
          <a:p>
            <a:pPr algn="ct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Actuators</a:t>
            </a:r>
            <a:endParaRPr lang="en-US" sz="1200" b="0" dirty="0">
              <a:solidFill>
                <a:srgbClr val="15539C"/>
              </a:solidFill>
              <a:latin typeface="+mn-lt"/>
            </a:endParaRPr>
          </a:p>
        </p:txBody>
      </p:sp>
      <p:pic>
        <p:nvPicPr>
          <p:cNvPr id="54" name="Picture 5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74127" y="2508166"/>
            <a:ext cx="454511" cy="524945"/>
          </a:xfrm>
          <a:prstGeom prst="rect">
            <a:avLst/>
          </a:prstGeom>
          <a:noFill/>
          <a:ln w="41275">
            <a:noFill/>
            <a:miter lim="800000"/>
            <a:headEnd/>
            <a:tailEnd/>
          </a:ln>
        </p:spPr>
      </p:pic>
      <p:sp>
        <p:nvSpPr>
          <p:cNvPr id="55" name="TextBox 110"/>
          <p:cNvSpPr txBox="1"/>
          <p:nvPr/>
        </p:nvSpPr>
        <p:spPr bwMode="auto">
          <a:xfrm>
            <a:off x="4888725" y="2132856"/>
            <a:ext cx="954315" cy="47153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 eaLnBrk="0" hangingPunct="0">
              <a:defRPr/>
            </a:pPr>
            <a:r>
              <a:rPr lang="en-US" sz="1000" b="0" dirty="0">
                <a:solidFill>
                  <a:srgbClr val="15539C"/>
                </a:solidFill>
                <a:latin typeface="+mn-lt"/>
              </a:rPr>
              <a:t>MOON</a:t>
            </a:r>
          </a:p>
          <a:p>
            <a:pPr algn="ctr" eaLnBrk="0" hangingPunct="0">
              <a:defRPr/>
            </a:pPr>
            <a:r>
              <a:rPr lang="en-US" sz="1000" b="0" dirty="0">
                <a:solidFill>
                  <a:srgbClr val="15539C"/>
                </a:solidFill>
                <a:latin typeface="+mn-lt"/>
              </a:rPr>
              <a:t>(Monitoring</a:t>
            </a:r>
            <a:r>
              <a:rPr lang="en-US" sz="1100" b="0" dirty="0">
                <a:solidFill>
                  <a:srgbClr val="15539C"/>
                </a:solidFill>
                <a:latin typeface="+mn-lt"/>
              </a:rPr>
              <a:t>)</a:t>
            </a:r>
          </a:p>
        </p:txBody>
      </p:sp>
      <p:pic>
        <p:nvPicPr>
          <p:cNvPr id="56" name="Picture 55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20" t="7422" r="16973" b="5079"/>
          <a:stretch/>
        </p:blipFill>
        <p:spPr bwMode="auto">
          <a:xfrm>
            <a:off x="3970832" y="2351350"/>
            <a:ext cx="434399" cy="645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Picture 56" descr="C:\Documents and Settings\eblanco\Local Settings\Temporary Internet Files\Content.IE5\4P84RBAS\MCj04315660000[1]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891798" y="2446136"/>
            <a:ext cx="464186" cy="571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8" name="Straight Connector 57"/>
          <p:cNvCxnSpPr/>
          <p:nvPr/>
        </p:nvCxnSpPr>
        <p:spPr>
          <a:xfrm>
            <a:off x="6123891" y="2996952"/>
            <a:ext cx="0" cy="3039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6566" y="4359335"/>
            <a:ext cx="838140" cy="745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0" name="Group 59"/>
          <p:cNvGrpSpPr/>
          <p:nvPr/>
        </p:nvGrpSpPr>
        <p:grpSpPr>
          <a:xfrm>
            <a:off x="7801834" y="3294856"/>
            <a:ext cx="1233324" cy="1026415"/>
            <a:chOff x="768317" y="2137045"/>
            <a:chExt cx="1461563" cy="1062884"/>
          </a:xfrm>
        </p:grpSpPr>
        <p:sp>
          <p:nvSpPr>
            <p:cNvPr id="86" name="TextBox 178"/>
            <p:cNvSpPr txBox="1"/>
            <p:nvPr/>
          </p:nvSpPr>
          <p:spPr bwMode="auto">
            <a:xfrm>
              <a:off x="1051262" y="2903467"/>
              <a:ext cx="1178618" cy="29646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5613" indent="1588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2813" indent="1588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0013" indent="1588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7213" indent="1588" algn="l" rtl="0" fontAlgn="base">
                <a:spcBef>
                  <a:spcPct val="0"/>
                </a:spcBef>
                <a:spcAft>
                  <a:spcPct val="0"/>
                </a:spcAft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60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32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2004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7600" algn="l" defTabSz="914400" rtl="0" eaLnBrk="1" latinLnBrk="0" hangingPunct="1">
                <a:defRPr b="1"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100" b="0" dirty="0">
                <a:solidFill>
                  <a:srgbClr val="15539C"/>
                </a:solidFill>
                <a:latin typeface="+mn-lt"/>
              </a:endParaRPr>
            </a:p>
          </p:txBody>
        </p:sp>
        <p:cxnSp>
          <p:nvCxnSpPr>
            <p:cNvPr id="87" name="Straight Connector 86"/>
            <p:cNvCxnSpPr>
              <a:endCxn id="116" idx="0"/>
            </p:cNvCxnSpPr>
            <p:nvPr/>
          </p:nvCxnSpPr>
          <p:spPr>
            <a:xfrm>
              <a:off x="768317" y="2137045"/>
              <a:ext cx="1587" cy="269213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2" name="Straight Connector 61"/>
          <p:cNvCxnSpPr>
            <a:endCxn id="78" idx="0"/>
          </p:cNvCxnSpPr>
          <p:nvPr/>
        </p:nvCxnSpPr>
        <p:spPr>
          <a:xfrm>
            <a:off x="7103047" y="3298288"/>
            <a:ext cx="769" cy="116872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186"/>
          <p:cNvSpPr txBox="1"/>
          <p:nvPr/>
        </p:nvSpPr>
        <p:spPr bwMode="auto">
          <a:xfrm>
            <a:off x="8028384" y="5142447"/>
            <a:ext cx="106033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High Voltage</a:t>
            </a:r>
          </a:p>
        </p:txBody>
      </p:sp>
      <p:cxnSp>
        <p:nvCxnSpPr>
          <p:cNvPr id="64" name="Straight Connector 63"/>
          <p:cNvCxnSpPr>
            <a:endCxn id="59" idx="0"/>
          </p:cNvCxnSpPr>
          <p:nvPr/>
        </p:nvCxnSpPr>
        <p:spPr>
          <a:xfrm>
            <a:off x="8524277" y="3304972"/>
            <a:ext cx="1359" cy="105436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188"/>
          <p:cNvSpPr txBox="1"/>
          <p:nvPr/>
        </p:nvSpPr>
        <p:spPr bwMode="auto">
          <a:xfrm>
            <a:off x="6259465" y="3697558"/>
            <a:ext cx="97197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DIM/CMW</a:t>
            </a:r>
          </a:p>
        </p:txBody>
      </p:sp>
      <p:grpSp>
        <p:nvGrpSpPr>
          <p:cNvPr id="67" name="Group 66"/>
          <p:cNvGrpSpPr/>
          <p:nvPr/>
        </p:nvGrpSpPr>
        <p:grpSpPr>
          <a:xfrm>
            <a:off x="6470138" y="4467015"/>
            <a:ext cx="1157556" cy="1516634"/>
            <a:chOff x="4968552" y="4754050"/>
            <a:chExt cx="1294530" cy="1385891"/>
          </a:xfrm>
        </p:grpSpPr>
        <p:pic>
          <p:nvPicPr>
            <p:cNvPr id="78" name="Picture 77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142094" y="4754050"/>
              <a:ext cx="1070238" cy="532103"/>
            </a:xfrm>
            <a:prstGeom prst="rect">
              <a:avLst/>
            </a:prstGeom>
          </p:spPr>
        </p:pic>
        <p:pic>
          <p:nvPicPr>
            <p:cNvPr id="79" name="Picture 78" descr="SI_PS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562029" y="5790691"/>
              <a:ext cx="241300" cy="349250"/>
            </a:xfrm>
            <a:prstGeom prst="rect">
              <a:avLst/>
            </a:prstGeom>
            <a:solidFill>
              <a:schemeClr val="accent1">
                <a:alpha val="29019"/>
              </a:schemeClr>
            </a:solidFill>
            <a:ln w="9525">
              <a:noFill/>
              <a:miter lim="800000"/>
              <a:headEnd/>
              <a:tailEnd/>
            </a:ln>
          </p:spPr>
        </p:pic>
        <p:pic>
          <p:nvPicPr>
            <p:cNvPr id="80" name="Picture 79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968552" y="5835550"/>
              <a:ext cx="371475" cy="249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81" name="Straight Connector 80"/>
            <p:cNvCxnSpPr>
              <a:endCxn id="80" idx="0"/>
            </p:cNvCxnSpPr>
            <p:nvPr/>
          </p:nvCxnSpPr>
          <p:spPr>
            <a:xfrm flipH="1">
              <a:off x="5154290" y="5152608"/>
              <a:ext cx="528389" cy="682942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>
              <a:endCxn id="79" idx="0"/>
            </p:cNvCxnSpPr>
            <p:nvPr/>
          </p:nvCxnSpPr>
          <p:spPr>
            <a:xfrm>
              <a:off x="5682679" y="5170274"/>
              <a:ext cx="0" cy="620417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83" name="Picture 82" descr="C:\Documents and Settings\Enrique Blanco.PCEBHOME\Desktop\presentations\flowmeter.T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063057" y="5787863"/>
              <a:ext cx="200025" cy="303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84" name="Straight Connector 83"/>
            <p:cNvCxnSpPr>
              <a:endCxn id="83" idx="0"/>
            </p:cNvCxnSpPr>
            <p:nvPr/>
          </p:nvCxnSpPr>
          <p:spPr>
            <a:xfrm>
              <a:off x="5682679" y="5152608"/>
              <a:ext cx="480391" cy="635255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5" name="Picture 7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07136" y="2365085"/>
            <a:ext cx="463881" cy="631867"/>
          </a:xfrm>
          <a:prstGeom prst="rect">
            <a:avLst/>
          </a:prstGeom>
          <a:noFill/>
          <a:ln w="41275">
            <a:noFill/>
            <a:miter lim="800000"/>
            <a:headEnd/>
            <a:tailEnd/>
          </a:ln>
        </p:spPr>
      </p:pic>
      <p:cxnSp>
        <p:nvCxnSpPr>
          <p:cNvPr id="77" name="Straight Connector 76"/>
          <p:cNvCxnSpPr>
            <a:stCxn id="75" idx="2"/>
          </p:cNvCxnSpPr>
          <p:nvPr/>
        </p:nvCxnSpPr>
        <p:spPr>
          <a:xfrm>
            <a:off x="6939077" y="2996952"/>
            <a:ext cx="0" cy="28569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70" descr="C:\Documents and Settings\eblanco\Local Settings\Temporary Internet Files\Content.IE5\4P84RBAS\MCj04315660000[1]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75288" y="2484860"/>
            <a:ext cx="464186" cy="571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2" name="Straight Connector 71"/>
          <p:cNvCxnSpPr/>
          <p:nvPr/>
        </p:nvCxnSpPr>
        <p:spPr>
          <a:xfrm>
            <a:off x="8311356" y="3017388"/>
            <a:ext cx="0" cy="3039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stCxn id="56" idx="2"/>
          </p:cNvCxnSpPr>
          <p:nvPr/>
        </p:nvCxnSpPr>
        <p:spPr>
          <a:xfrm>
            <a:off x="4188032" y="2996952"/>
            <a:ext cx="0" cy="297904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>
            <a:off x="5294906" y="2998381"/>
            <a:ext cx="0" cy="30392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ounded Rectangle 90"/>
          <p:cNvSpPr/>
          <p:nvPr/>
        </p:nvSpPr>
        <p:spPr>
          <a:xfrm>
            <a:off x="31921" y="5373216"/>
            <a:ext cx="1311723" cy="681285"/>
          </a:xfrm>
          <a:prstGeom prst="roundRect">
            <a:avLst/>
          </a:prstGeom>
          <a:solidFill>
            <a:srgbClr val="333399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  <a:t>Field </a:t>
            </a:r>
            <a:b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</a:b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  <a:t>layer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15539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31921" y="4216959"/>
            <a:ext cx="1311723" cy="868225"/>
          </a:xfrm>
          <a:prstGeom prst="roundRect">
            <a:avLst/>
          </a:prstGeom>
          <a:solidFill>
            <a:srgbClr val="808080">
              <a:lumMod val="20000"/>
              <a:lumOff val="8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  <a:t>Process</a:t>
            </a:r>
            <a:b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</a:b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  <a:t>layer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15539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31921" y="2201159"/>
            <a:ext cx="1698092" cy="1731897"/>
          </a:xfrm>
          <a:prstGeom prst="roundRect">
            <a:avLst/>
          </a:prstGeom>
          <a:solidFill>
            <a:srgbClr val="BBE0E3"/>
          </a:solidFill>
          <a:ln w="25400" cap="flat" cmpd="sng" algn="ctr">
            <a:noFill/>
            <a:prstDash val="solid"/>
          </a:ln>
          <a:effectLst/>
        </p:spPr>
        <p:txBody>
          <a:bodyPr rtlCol="0" anchor="t" anchorCtr="0">
            <a:norm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  <a:t>Supervision</a:t>
            </a:r>
            <a:b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</a:b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5539C"/>
                </a:solidFill>
                <a:effectLst/>
                <a:uLnTx/>
                <a:uFillTx/>
                <a:latin typeface="Arial"/>
              </a:rPr>
              <a:t>layer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15539C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5" name="Rounded Rectangle 94"/>
          <p:cNvSpPr/>
          <p:nvPr/>
        </p:nvSpPr>
        <p:spPr>
          <a:xfrm>
            <a:off x="90707" y="1444459"/>
            <a:ext cx="1573872" cy="584706"/>
          </a:xfrm>
          <a:prstGeom prst="roundRect">
            <a:avLst/>
          </a:prstGeom>
          <a:solidFill>
            <a:srgbClr val="FFFF00"/>
          </a:solidFill>
          <a:ln w="25400" cap="flat" cmpd="sng" algn="ctr">
            <a:solidFill>
              <a:srgbClr val="2222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222268"/>
                </a:solidFill>
                <a:effectLst/>
                <a:uLnTx/>
                <a:uFillTx/>
                <a:latin typeface="Arial"/>
              </a:rPr>
              <a:t>Data Analytics</a:t>
            </a:r>
          </a:p>
        </p:txBody>
      </p:sp>
      <p:sp>
        <p:nvSpPr>
          <p:cNvPr id="97" name="Rounded Rectangle 96"/>
          <p:cNvSpPr/>
          <p:nvPr/>
        </p:nvSpPr>
        <p:spPr>
          <a:xfrm>
            <a:off x="90706" y="2759796"/>
            <a:ext cx="1573873" cy="1101252"/>
          </a:xfrm>
          <a:prstGeom prst="roundRect">
            <a:avLst/>
          </a:prstGeom>
          <a:solidFill>
            <a:srgbClr val="FFFF00"/>
          </a:solidFill>
          <a:ln w="25400" cap="flat" cmpd="sng" algn="ctr">
            <a:solidFill>
              <a:srgbClr val="222268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300" b="1" kern="0" dirty="0" smtClean="0">
                <a:solidFill>
                  <a:srgbClr val="222268"/>
                </a:solidFill>
                <a:latin typeface="Arial"/>
              </a:rPr>
              <a:t>WinCC OA:</a:t>
            </a:r>
          </a:p>
          <a:p>
            <a:pPr marL="108000" marR="0" lvl="0" indent="-1800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b="1" kern="0" dirty="0" smtClean="0">
                <a:solidFill>
                  <a:srgbClr val="222268"/>
                </a:solidFill>
                <a:latin typeface="Arial"/>
              </a:rPr>
              <a:t>Deployment</a:t>
            </a:r>
          </a:p>
          <a:p>
            <a:pPr marR="0" lvl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1300" b="1" kern="0" dirty="0">
                <a:solidFill>
                  <a:srgbClr val="222268"/>
                </a:solidFill>
                <a:latin typeface="Arial"/>
              </a:rPr>
              <a:t> </a:t>
            </a:r>
            <a:r>
              <a:rPr lang="en-US" sz="1300" b="1" kern="0" dirty="0" smtClean="0">
                <a:solidFill>
                  <a:srgbClr val="222268"/>
                </a:solidFill>
                <a:latin typeface="Arial"/>
              </a:rPr>
              <a:t>   tool</a:t>
            </a:r>
          </a:p>
          <a:p>
            <a:pPr marL="108000" marR="0" lvl="0" indent="-1800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300" b="1" kern="0" dirty="0" smtClean="0">
                <a:solidFill>
                  <a:srgbClr val="222268"/>
                </a:solidFill>
                <a:latin typeface="Arial"/>
              </a:rPr>
              <a:t>RDB Archiver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rgbClr val="222268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8" name="TextBox 188"/>
          <p:cNvSpPr txBox="1"/>
          <p:nvPr/>
        </p:nvSpPr>
        <p:spPr bwMode="auto">
          <a:xfrm>
            <a:off x="6230329" y="4246598"/>
            <a:ext cx="97197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Front-end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0" dirty="0" smtClean="0">
                <a:solidFill>
                  <a:srgbClr val="15539C"/>
                </a:solidFill>
                <a:latin typeface="+mn-lt"/>
              </a:rPr>
              <a:t>PC</a:t>
            </a:r>
          </a:p>
        </p:txBody>
      </p:sp>
      <p:sp>
        <p:nvSpPr>
          <p:cNvPr id="111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pic>
        <p:nvPicPr>
          <p:cNvPr id="112" name="Picture 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3" name="Straight Connector 112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Picture 113" descr="mzl.ceijisml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4906936" y="2492896"/>
            <a:ext cx="241334" cy="241334"/>
          </a:xfrm>
          <a:prstGeom prst="rect">
            <a:avLst/>
          </a:prstGeom>
        </p:spPr>
      </p:pic>
      <p:pic>
        <p:nvPicPr>
          <p:cNvPr id="115" name="Picture 114" descr="mzl.ceijisml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6503489" y="2371445"/>
            <a:ext cx="265467" cy="265467"/>
          </a:xfrm>
          <a:prstGeom prst="rect">
            <a:avLst/>
          </a:prstGeom>
        </p:spPr>
      </p:pic>
      <p:pic>
        <p:nvPicPr>
          <p:cNvPr id="116" name="Picture 11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71232" y="3554832"/>
            <a:ext cx="463881" cy="631867"/>
          </a:xfrm>
          <a:prstGeom prst="rect">
            <a:avLst/>
          </a:prstGeom>
          <a:noFill/>
          <a:ln w="41275">
            <a:noFill/>
            <a:miter lim="800000"/>
            <a:headEnd/>
            <a:tailEnd/>
          </a:ln>
        </p:spPr>
      </p:pic>
      <p:pic>
        <p:nvPicPr>
          <p:cNvPr id="117" name="Picture 116" descr="mzl.ceijisml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7378257" y="3570015"/>
            <a:ext cx="265467" cy="265467"/>
          </a:xfrm>
          <a:prstGeom prst="rect">
            <a:avLst/>
          </a:prstGeom>
        </p:spPr>
      </p:pic>
      <p:pic>
        <p:nvPicPr>
          <p:cNvPr id="119" name="Picture 11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151873" y="3690197"/>
            <a:ext cx="463881" cy="631867"/>
          </a:xfrm>
          <a:prstGeom prst="rect">
            <a:avLst/>
          </a:prstGeom>
          <a:noFill/>
          <a:ln w="41275">
            <a:noFill/>
            <a:miter lim="800000"/>
            <a:headEnd/>
            <a:tailEnd/>
          </a:ln>
        </p:spPr>
      </p:pic>
      <p:pic>
        <p:nvPicPr>
          <p:cNvPr id="118" name="Picture 117" descr="mzl.ceijisml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947765" y="3667589"/>
            <a:ext cx="265467" cy="265467"/>
          </a:xfrm>
          <a:prstGeom prst="rect">
            <a:avLst/>
          </a:prstGeom>
        </p:spPr>
      </p:pic>
      <p:sp>
        <p:nvSpPr>
          <p:cNvPr id="120" name="Rounded Rectangular Callout 119"/>
          <p:cNvSpPr/>
          <p:nvPr/>
        </p:nvSpPr>
        <p:spPr>
          <a:xfrm>
            <a:off x="2483768" y="1401927"/>
            <a:ext cx="6551389" cy="670637"/>
          </a:xfrm>
          <a:prstGeom prst="wedgeRoundRectCallout">
            <a:avLst>
              <a:gd name="adj1" fmla="val -63418"/>
              <a:gd name="adj2" fmla="val -430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15539C"/>
                </a:solidFill>
                <a:latin typeface="Arial"/>
              </a:rPr>
              <a:t>Improve functionality, efficiency, and predictability of CERN control </a:t>
            </a:r>
            <a:r>
              <a:rPr lang="en-GB" sz="1400" dirty="0" smtClean="0">
                <a:solidFill>
                  <a:srgbClr val="15539C"/>
                </a:solidFill>
                <a:latin typeface="Arial"/>
              </a:rPr>
              <a:t>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15539C"/>
                </a:solidFill>
                <a:latin typeface="Arial"/>
              </a:rPr>
              <a:t>Support operators </a:t>
            </a:r>
            <a:r>
              <a:rPr lang="en-GB" sz="1400" dirty="0" smtClean="0">
                <a:solidFill>
                  <a:srgbClr val="15539C"/>
                </a:solidFill>
                <a:latin typeface="Arial"/>
              </a:rPr>
              <a:t>to take decisions, enhance </a:t>
            </a:r>
            <a:r>
              <a:rPr lang="en-GB" sz="1400" dirty="0">
                <a:solidFill>
                  <a:srgbClr val="15539C"/>
                </a:solidFill>
                <a:latin typeface="Arial"/>
              </a:rPr>
              <a:t>the online monitoring systems</a:t>
            </a:r>
          </a:p>
        </p:txBody>
      </p:sp>
      <p:sp>
        <p:nvSpPr>
          <p:cNvPr id="121" name="Rounded Rectangular Callout 120"/>
          <p:cNvSpPr/>
          <p:nvPr/>
        </p:nvSpPr>
        <p:spPr>
          <a:xfrm>
            <a:off x="1835696" y="2276872"/>
            <a:ext cx="1891437" cy="853071"/>
          </a:xfrm>
          <a:prstGeom prst="wedgeRoundRectCallout">
            <a:avLst>
              <a:gd name="adj1" fmla="val -68132"/>
              <a:gd name="adj2" fmla="val 439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dirty="0" smtClean="0">
                <a:solidFill>
                  <a:srgbClr val="15539C"/>
                </a:solidFill>
              </a:rPr>
              <a:t>Manage multiple SCADA applications </a:t>
            </a:r>
            <a:r>
              <a:rPr lang="en-GB" sz="1400" dirty="0">
                <a:solidFill>
                  <a:srgbClr val="15539C"/>
                </a:solidFill>
              </a:rPr>
              <a:t>in a </a:t>
            </a:r>
            <a:r>
              <a:rPr lang="en-GB" sz="1400" dirty="0" smtClean="0">
                <a:solidFill>
                  <a:srgbClr val="15539C"/>
                </a:solidFill>
              </a:rPr>
              <a:t>centralized way</a:t>
            </a:r>
            <a:endParaRPr lang="en-GB" sz="1400" dirty="0">
              <a:solidFill>
                <a:srgbClr val="15539C"/>
              </a:solidFill>
            </a:endParaRPr>
          </a:p>
        </p:txBody>
      </p:sp>
      <p:sp>
        <p:nvSpPr>
          <p:cNvPr id="85" name="Rounded Rectangular Callout 84"/>
          <p:cNvSpPr/>
          <p:nvPr/>
        </p:nvSpPr>
        <p:spPr>
          <a:xfrm>
            <a:off x="1816465" y="3284984"/>
            <a:ext cx="1574898" cy="837826"/>
          </a:xfrm>
          <a:prstGeom prst="wedgeRoundRectCallout">
            <a:avLst>
              <a:gd name="adj1" fmla="val -68880"/>
              <a:gd name="adj2" fmla="val -20243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400" dirty="0">
                <a:solidFill>
                  <a:srgbClr val="15539C"/>
                </a:solidFill>
              </a:rPr>
              <a:t>Improve </a:t>
            </a:r>
            <a:r>
              <a:rPr lang="en-GB" sz="1400" dirty="0" smtClean="0">
                <a:solidFill>
                  <a:srgbClr val="15539C"/>
                </a:solidFill>
              </a:rPr>
              <a:t>WinCC OA archiving </a:t>
            </a:r>
            <a:r>
              <a:rPr lang="en-GB" sz="1400" dirty="0">
                <a:solidFill>
                  <a:srgbClr val="15539C"/>
                </a:solidFill>
              </a:rPr>
              <a:t>capabilities </a:t>
            </a:r>
          </a:p>
        </p:txBody>
      </p:sp>
    </p:spTree>
    <p:extLst>
      <p:ext uri="{BB962C8B-B14F-4D97-AF65-F5344CB8AC3E}">
        <p14:creationId xmlns:p14="http://schemas.microsoft.com/office/powerpoint/2010/main" val="4150515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" name="think-cell Slide" r:id="rId4" imgW="216" imgH="216" progId="">
                  <p:embed/>
                </p:oleObj>
              </mc:Choice>
              <mc:Fallback>
                <p:oleObj name="think-cell Slide" r:id="rId4" imgW="216" imgH="216" progId="">
                  <p:embed/>
                  <p:pic>
                    <p:nvPicPr>
                      <p:cNvPr id="0" name="Picture 8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4572000" y="1412776"/>
            <a:ext cx="4445540" cy="499775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Siemens’ Smart Data Technologies @ CER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10" name="Picture 3" descr="C:\Users\Z002KJ5A\Desktop\ELVis_big_teaser_EXT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1906462"/>
            <a:ext cx="4134282" cy="2216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7" cstate="print"/>
          <a:srcRect t="3663"/>
          <a:stretch>
            <a:fillRect/>
          </a:stretch>
        </p:blipFill>
        <p:spPr bwMode="auto">
          <a:xfrm>
            <a:off x="4664314" y="1905852"/>
            <a:ext cx="4228166" cy="2243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179512" y="1473805"/>
            <a:ext cx="4392488" cy="36004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de name “</a:t>
            </a:r>
            <a:r>
              <a:rPr lang="en-GB" sz="2000" dirty="0" err="1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LVis</a:t>
            </a: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”</a:t>
            </a: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loud-based BIG Data Analytics for Time Series Sensor Data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al-Time Stream Processing at customizable KHz-Rates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High Performance Online Visualization in Rich Web-based UI 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telligence for Sensor Data Validation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Job-based Offline Data Analysis</a:t>
            </a:r>
          </a:p>
          <a:p>
            <a:pPr lvl="1"/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GB" sz="650" kern="0" dirty="0">
              <a:solidFill>
                <a:srgbClr val="15539C"/>
              </a:solidFill>
              <a:ea typeface="+mj-ea"/>
              <a:cs typeface="+mj-cs"/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>
          <a:xfrm>
            <a:off x="4644008" y="1473804"/>
            <a:ext cx="4248472" cy="36004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de name “</a:t>
            </a:r>
            <a:r>
              <a:rPr lang="en-GB" sz="2000" dirty="0" err="1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WatchCAT</a:t>
            </a: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”</a:t>
            </a: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endParaRPr lang="en-US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ata Fusion of events &amp; sensors</a:t>
            </a:r>
          </a:p>
          <a:p>
            <a:pPr lvl="1"/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mplex Event Processing</a:t>
            </a:r>
          </a:p>
          <a:p>
            <a:pPr lvl="1"/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utomated Learning of fault patterns</a:t>
            </a:r>
          </a:p>
          <a:p>
            <a:pPr lvl="1"/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Logical Reasoning for Fault Detection &amp; Isolation </a:t>
            </a:r>
          </a:p>
          <a:p>
            <a:pPr lvl="1"/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ault prediction based on recognizable patterns</a:t>
            </a:r>
            <a:endParaRPr lang="en-GB" sz="20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endParaRPr lang="en-GB" sz="1050" kern="0" dirty="0">
              <a:solidFill>
                <a:srgbClr val="15539C"/>
              </a:solidFill>
              <a:ea typeface="+mj-ea"/>
              <a:cs typeface="+mj-cs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Connector 14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/>
          <p:nvPr/>
        </p:nvSpPr>
        <p:spPr bwMode="auto">
          <a:xfrm>
            <a:off x="48589" y="1521252"/>
            <a:ext cx="1757923" cy="439449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52" name="Object 5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" name="think-cell Slide" r:id="rId12" imgW="216" imgH="216" progId="">
                  <p:embed/>
                </p:oleObj>
              </mc:Choice>
              <mc:Fallback>
                <p:oleObj name="think-cell Slide" r:id="rId12" imgW="216" imgH="216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/>
        </p:nvSpPr>
        <p:spPr bwMode="auto">
          <a:xfrm>
            <a:off x="1619672" y="401290"/>
            <a:ext cx="7371928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0" tIns="45715" rIns="91430" bIns="45715" numCol="1" anchor="ctr" anchorCtr="0" compatLnSpc="1">
            <a:prstTxWarp prst="textNoShape">
              <a:avLst/>
            </a:prstTxWarp>
          </a:bodyPr>
          <a:lstStyle/>
          <a:p>
            <a:pPr lvl="0"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000" b="1" dirty="0" smtClean="0">
                <a:solidFill>
                  <a:srgbClr val="4F81BD">
                    <a:lumMod val="75000"/>
                  </a:srgbClr>
                </a:solidFill>
                <a:ea typeface="+mj-ea"/>
                <a:cs typeface="+mj-cs"/>
              </a:rPr>
              <a:t>Siemens’ Smart Data Technologies: </a:t>
            </a:r>
            <a:br>
              <a:rPr lang="en-GB" sz="2000" b="1" dirty="0" smtClean="0">
                <a:solidFill>
                  <a:srgbClr val="4F81BD">
                    <a:lumMod val="75000"/>
                  </a:srgbClr>
                </a:solidFill>
                <a:ea typeface="+mj-ea"/>
                <a:cs typeface="+mj-cs"/>
              </a:rPr>
            </a:br>
            <a:r>
              <a:rPr lang="en-GB" sz="3200" b="1" dirty="0">
                <a:solidFill>
                  <a:srgbClr val="4F81BD">
                    <a:lumMod val="75000"/>
                  </a:srgbClr>
                </a:solidFill>
                <a:ea typeface="+mj-ea"/>
                <a:cs typeface="+mj-cs"/>
              </a:rPr>
              <a:t>Control</a:t>
            </a:r>
            <a:r>
              <a:rPr lang="en-GB" sz="2000" b="1" dirty="0" smtClean="0">
                <a:solidFill>
                  <a:srgbClr val="4F81BD">
                    <a:lumMod val="75000"/>
                  </a:srgbClr>
                </a:solidFill>
                <a:ea typeface="+mj-ea"/>
                <a:cs typeface="+mj-cs"/>
              </a:rPr>
              <a:t> </a:t>
            </a:r>
            <a:r>
              <a:rPr lang="en-GB" sz="3200" b="1" dirty="0" smtClean="0">
                <a:solidFill>
                  <a:srgbClr val="4F81BD">
                    <a:lumMod val="75000"/>
                  </a:srgbClr>
                </a:solidFill>
                <a:ea typeface="+mj-ea"/>
                <a:cs typeface="+mj-cs"/>
              </a:rPr>
              <a:t>System Analysis</a:t>
            </a:r>
            <a:endParaRPr lang="en-US" sz="3200" b="1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pPr>
              <a:defRPr/>
            </a:pPr>
            <a:fld id="{6EE8AE75-B42E-4FD8-824C-5A03A4FE1202}" type="slidenum">
              <a:rPr lang="en-GB" smtClean="0">
                <a:latin typeface="+mn-lt"/>
              </a:rPr>
              <a:pPr>
                <a:defRPr/>
              </a:pPr>
              <a:t>12</a:t>
            </a:fld>
            <a:endParaRPr lang="en-GB" dirty="0">
              <a:latin typeface="+mn-lt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7" name="Straight Connector 46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Plc-communicatiemodule-Siemens-ET200M-6ES71532BA020XB-1.gif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413595" y="3717032"/>
            <a:ext cx="1008112" cy="500905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 bwMode="auto">
          <a:xfrm>
            <a:off x="2438431" y="1581641"/>
            <a:ext cx="2118835" cy="337898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29" name="Rechteck 14"/>
          <p:cNvSpPr/>
          <p:nvPr/>
        </p:nvSpPr>
        <p:spPr bwMode="auto">
          <a:xfrm>
            <a:off x="5343527" y="1947073"/>
            <a:ext cx="47500" cy="434494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0" name="Rechteckige Legende 44"/>
          <p:cNvSpPr/>
          <p:nvPr/>
        </p:nvSpPr>
        <p:spPr bwMode="auto">
          <a:xfrm>
            <a:off x="2411760" y="3525858"/>
            <a:ext cx="2160240" cy="14401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dentify and detect fault / abnormal pattern for Diagnosis and Prognostics based on domain knowledge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277472" y="1653649"/>
            <a:ext cx="2448272" cy="404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nalyze</a:t>
            </a:r>
          </a:p>
        </p:txBody>
      </p:sp>
      <p:sp>
        <p:nvSpPr>
          <p:cNvPr id="45" name="Rectangle 44"/>
          <p:cNvSpPr/>
          <p:nvPr/>
        </p:nvSpPr>
        <p:spPr bwMode="auto">
          <a:xfrm>
            <a:off x="4660950" y="1576248"/>
            <a:ext cx="2118835" cy="337898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6884565" y="1581641"/>
            <a:ext cx="2118835" cy="337898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grpSp>
        <p:nvGrpSpPr>
          <p:cNvPr id="2" name="Group 49"/>
          <p:cNvGrpSpPr/>
          <p:nvPr/>
        </p:nvGrpSpPr>
        <p:grpSpPr>
          <a:xfrm>
            <a:off x="2781528" y="2034320"/>
            <a:ext cx="1176129" cy="1419529"/>
            <a:chOff x="4808984" y="2492896"/>
            <a:chExt cx="1425759" cy="1755387"/>
          </a:xfrm>
        </p:grpSpPr>
        <p:pic>
          <p:nvPicPr>
            <p:cNvPr id="53" name="Picture 10" descr="D:\Users\mchn3680\Pictures\Slides\Pictures\shutterstock_66272299- DB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313040" y="2492896"/>
              <a:ext cx="921703" cy="1152128"/>
            </a:xfrm>
            <a:prstGeom prst="rect">
              <a:avLst/>
            </a:prstGeom>
            <a:noFill/>
          </p:spPr>
        </p:pic>
        <p:sp>
          <p:nvSpPr>
            <p:cNvPr id="54" name="Rectangle 53"/>
            <p:cNvSpPr/>
            <p:nvPr>
              <p:custDataLst>
                <p:tags r:id="rId8"/>
              </p:custDataLst>
            </p:nvPr>
          </p:nvSpPr>
          <p:spPr bwMode="auto">
            <a:xfrm rot="861551">
              <a:off x="5318678" y="3371024"/>
              <a:ext cx="432047" cy="30777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5" name="Picture 3" descr="D:\Users\mchn3680\Downloads\shutterstock_58530694.jp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08984" y="3237359"/>
              <a:ext cx="1357325" cy="1010924"/>
            </a:xfrm>
            <a:prstGeom prst="rect">
              <a:avLst/>
            </a:prstGeom>
            <a:noFill/>
          </p:spPr>
        </p:pic>
      </p:grpSp>
      <p:sp>
        <p:nvSpPr>
          <p:cNvPr id="56" name="Rechteckige Legende 44"/>
          <p:cNvSpPr/>
          <p:nvPr/>
        </p:nvSpPr>
        <p:spPr bwMode="auto">
          <a:xfrm>
            <a:off x="4644008" y="3525858"/>
            <a:ext cx="2160240" cy="14401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vide experts with Root-cause  and Gap Analysis using Rules  and Patterns Mining</a:t>
            </a:r>
          </a:p>
        </p:txBody>
      </p:sp>
      <p:sp>
        <p:nvSpPr>
          <p:cNvPr id="57" name="Rectangle 56"/>
          <p:cNvSpPr/>
          <p:nvPr/>
        </p:nvSpPr>
        <p:spPr>
          <a:xfrm>
            <a:off x="4499992" y="1653649"/>
            <a:ext cx="2448272" cy="404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Learn</a:t>
            </a:r>
          </a:p>
        </p:txBody>
      </p:sp>
      <p:grpSp>
        <p:nvGrpSpPr>
          <p:cNvPr id="3" name="Group 53"/>
          <p:cNvGrpSpPr/>
          <p:nvPr/>
        </p:nvGrpSpPr>
        <p:grpSpPr>
          <a:xfrm>
            <a:off x="4932040" y="1976046"/>
            <a:ext cx="1419617" cy="1333787"/>
            <a:chOff x="9544361" y="4871389"/>
            <a:chExt cx="713085" cy="740384"/>
          </a:xfrm>
        </p:grpSpPr>
        <p:pic>
          <p:nvPicPr>
            <p:cNvPr id="59" name="Picture 6" descr="D:\Users\mchn3680\Downloads\shutterstock_11827318.jp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752287" y="4871389"/>
              <a:ext cx="505159" cy="410441"/>
            </a:xfrm>
            <a:prstGeom prst="rect">
              <a:avLst/>
            </a:prstGeom>
            <a:noFill/>
          </p:spPr>
        </p:pic>
        <p:pic>
          <p:nvPicPr>
            <p:cNvPr id="60" name="Picture 4" descr="D:\Users\mchn3680\Downloads\shutterstock_43682035 - blue.pn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544361" y="5046765"/>
              <a:ext cx="439871" cy="324035"/>
            </a:xfrm>
            <a:prstGeom prst="rect">
              <a:avLst/>
            </a:prstGeom>
            <a:noFill/>
          </p:spPr>
        </p:pic>
        <p:pic>
          <p:nvPicPr>
            <p:cNvPr id="61" name="Picture 8" descr="D:\Users\mchn3680\Downloads\shutterstock_92815348.jpg"/>
            <p:cNvPicPr>
              <a:picLocks noChangeAspect="1" noChangeArrowheads="1"/>
            </p:cNvPicPr>
            <p:nvPr/>
          </p:nvPicPr>
          <p:blipFill>
            <a:blip r:embed="rId21" cstate="print">
              <a:clrChange>
                <a:clrFrom>
                  <a:srgbClr val="F6F6F6"/>
                </a:clrFrom>
                <a:clrTo>
                  <a:srgbClr val="F6F6F6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9580114" y="5218678"/>
              <a:ext cx="483808" cy="393095"/>
            </a:xfrm>
            <a:prstGeom prst="rect">
              <a:avLst/>
            </a:prstGeom>
            <a:noFill/>
          </p:spPr>
        </p:pic>
      </p:grpSp>
      <p:sp>
        <p:nvSpPr>
          <p:cNvPr id="62" name="Rechteckige Legende 44"/>
          <p:cNvSpPr/>
          <p:nvPr/>
        </p:nvSpPr>
        <p:spPr bwMode="auto">
          <a:xfrm>
            <a:off x="6876256" y="3525858"/>
            <a:ext cx="2160240" cy="1440160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orecasts, Trends and Early-Warnings to increase Operating Hours</a:t>
            </a:r>
          </a:p>
        </p:txBody>
      </p:sp>
      <p:grpSp>
        <p:nvGrpSpPr>
          <p:cNvPr id="5" name="Group 47"/>
          <p:cNvGrpSpPr/>
          <p:nvPr/>
        </p:nvGrpSpPr>
        <p:grpSpPr>
          <a:xfrm>
            <a:off x="3275856" y="5104640"/>
            <a:ext cx="4896544" cy="1152128"/>
            <a:chOff x="2555776" y="4077072"/>
            <a:chExt cx="4896544" cy="1152128"/>
          </a:xfrm>
        </p:grpSpPr>
        <p:sp>
          <p:nvSpPr>
            <p:cNvPr id="88" name="Rectangle 87"/>
            <p:cNvSpPr/>
            <p:nvPr/>
          </p:nvSpPr>
          <p:spPr>
            <a:xfrm>
              <a:off x="2555776" y="4077072"/>
              <a:ext cx="4896544" cy="115212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grpSp>
          <p:nvGrpSpPr>
            <p:cNvPr id="6" name="Group 88"/>
            <p:cNvGrpSpPr/>
            <p:nvPr/>
          </p:nvGrpSpPr>
          <p:grpSpPr>
            <a:xfrm>
              <a:off x="2627784" y="4149080"/>
              <a:ext cx="4743588" cy="989691"/>
              <a:chOff x="3663322" y="5060777"/>
              <a:chExt cx="4743588" cy="989691"/>
            </a:xfrm>
          </p:grpSpPr>
          <p:sp>
            <p:nvSpPr>
              <p:cNvPr id="90" name="Right Arrow 89"/>
              <p:cNvSpPr/>
              <p:nvPr/>
            </p:nvSpPr>
            <p:spPr bwMode="auto">
              <a:xfrm>
                <a:off x="3670432" y="5278897"/>
                <a:ext cx="4736478" cy="771571"/>
              </a:xfrm>
              <a:prstGeom prst="rightArrow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de-DE" sz="1800" b="1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3663322" y="5492098"/>
                <a:ext cx="4199801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de-DE" sz="1400" dirty="0">
                    <a:solidFill>
                      <a:schemeClr val="tx2"/>
                    </a:solidFill>
                  </a:rPr>
                  <a:t>X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T C D </a:t>
                </a:r>
                <a:r>
                  <a:rPr lang="de-DE" sz="1400" dirty="0">
                    <a:solidFill>
                      <a:schemeClr val="tx2"/>
                    </a:solidFill>
                  </a:rPr>
                  <a:t>F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</a:t>
                </a:r>
                <a:r>
                  <a:rPr lang="de-DE" sz="1400" dirty="0">
                    <a:solidFill>
                      <a:srgbClr val="FF0000"/>
                    </a:solidFill>
                  </a:rPr>
                  <a:t>A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 </a:t>
                </a:r>
                <a:r>
                  <a:rPr lang="de-DE" sz="1400" dirty="0" err="1" smtClean="0">
                    <a:solidFill>
                      <a:srgbClr val="FF0000"/>
                    </a:solidFill>
                  </a:rPr>
                  <a:t>A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E D N D 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B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</a:t>
                </a:r>
                <a:r>
                  <a:rPr lang="de-DE" sz="1400" dirty="0" smtClean="0">
                    <a:solidFill>
                      <a:srgbClr val="002060"/>
                    </a:solidFill>
                  </a:rPr>
                  <a:t>K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D </a:t>
                </a:r>
                <a:r>
                  <a:rPr lang="en-US" sz="1400" dirty="0">
                    <a:solidFill>
                      <a:schemeClr val="tx1"/>
                    </a:solidFill>
                  </a:rPr>
                  <a:t>F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 A </a:t>
                </a:r>
                <a:r>
                  <a:rPr lang="de-DE" sz="1400" dirty="0" err="1" smtClean="0">
                    <a:solidFill>
                      <a:srgbClr val="FF0000"/>
                    </a:solidFill>
                  </a:rPr>
                  <a:t>A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 B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</a:t>
                </a:r>
                <a:r>
                  <a:rPr lang="de-DE" sz="1400" dirty="0" smtClean="0">
                    <a:solidFill>
                      <a:srgbClr val="002060"/>
                    </a:solidFill>
                  </a:rPr>
                  <a:t>K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D</a:t>
                </a:r>
                <a:endParaRPr lang="de-DE" sz="1400" dirty="0"/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4471444" y="5071410"/>
                <a:ext cx="2603655" cy="307777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</p:spPr>
            <p:txBody>
              <a:bodyPr wrap="square">
                <a:spAutoFit/>
              </a:bodyPr>
              <a:lstStyle/>
              <a:p>
                <a:r>
                  <a:rPr lang="en-US" sz="1400" dirty="0" smtClean="0">
                    <a:solidFill>
                      <a:srgbClr val="FF0000"/>
                    </a:solidFill>
                  </a:rPr>
                  <a:t> </a:t>
                </a:r>
                <a:r>
                  <a:rPr lang="ru-RU" sz="1400" dirty="0" smtClean="0">
                    <a:solidFill>
                      <a:srgbClr val="FF0000"/>
                    </a:solidFill>
                  </a:rPr>
                  <a:t>АА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              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B</a:t>
                </a:r>
                <a:r>
                  <a:rPr lang="de-DE" sz="1400" dirty="0" smtClean="0">
                    <a:solidFill>
                      <a:schemeClr val="tx2"/>
                    </a:solidFill>
                  </a:rPr>
                  <a:t>          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 A </a:t>
                </a:r>
                <a:r>
                  <a:rPr lang="de-DE" sz="1400" dirty="0" err="1" smtClean="0">
                    <a:solidFill>
                      <a:srgbClr val="FF0000"/>
                    </a:solidFill>
                  </a:rPr>
                  <a:t>A</a:t>
                </a:r>
                <a:r>
                  <a:rPr lang="de-DE" sz="1400" dirty="0" smtClean="0">
                    <a:solidFill>
                      <a:srgbClr val="FF0000"/>
                    </a:solidFill>
                  </a:rPr>
                  <a:t> B</a:t>
                </a:r>
                <a:endParaRPr lang="de-DE" sz="1400" dirty="0"/>
              </a:p>
            </p:txBody>
          </p:sp>
          <p:cxnSp>
            <p:nvCxnSpPr>
              <p:cNvPr id="93" name="Straight Arrow Connector 92"/>
              <p:cNvCxnSpPr/>
              <p:nvPr/>
            </p:nvCxnSpPr>
            <p:spPr bwMode="auto">
              <a:xfrm>
                <a:off x="6702960" y="5225732"/>
                <a:ext cx="595423" cy="0"/>
              </a:xfrm>
              <a:prstGeom prst="straightConnector1">
                <a:avLst/>
              </a:prstGeom>
              <a:solidFill>
                <a:schemeClr val="tx2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4" name="Rectangle 93"/>
              <p:cNvSpPr/>
              <p:nvPr/>
            </p:nvSpPr>
            <p:spPr>
              <a:xfrm>
                <a:off x="7340915" y="5060777"/>
                <a:ext cx="662361" cy="276999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de-DE" sz="1200" b="1" dirty="0" smtClean="0">
                    <a:solidFill>
                      <a:schemeClr val="tx2"/>
                    </a:solidFill>
                  </a:rPr>
                  <a:t>Alarm </a:t>
                </a:r>
                <a:endParaRPr lang="de-DE" sz="1200" b="1" dirty="0"/>
              </a:p>
            </p:txBody>
          </p:sp>
          <p:sp>
            <p:nvSpPr>
              <p:cNvPr id="95" name="Rectangle 94"/>
              <p:cNvSpPr/>
              <p:nvPr/>
            </p:nvSpPr>
            <p:spPr>
              <a:xfrm>
                <a:off x="3813535" y="5105518"/>
                <a:ext cx="670376" cy="26161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1100" b="1" dirty="0" smtClean="0">
                    <a:solidFill>
                      <a:schemeClr val="tx2"/>
                    </a:solidFill>
                  </a:rPr>
                  <a:t>Pattern</a:t>
                </a:r>
                <a:endParaRPr lang="de-DE" sz="1000" b="1" dirty="0"/>
              </a:p>
            </p:txBody>
          </p:sp>
        </p:grpSp>
      </p:grpSp>
      <p:sp>
        <p:nvSpPr>
          <p:cNvPr id="63" name="Rectangle 62"/>
          <p:cNvSpPr/>
          <p:nvPr/>
        </p:nvSpPr>
        <p:spPr>
          <a:xfrm>
            <a:off x="6579591" y="1653649"/>
            <a:ext cx="2448272" cy="404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20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iagnos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35496" y="1578278"/>
            <a:ext cx="185901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Control Systems</a:t>
            </a:r>
            <a:endParaRPr lang="en-US" sz="1600" dirty="0"/>
          </a:p>
        </p:txBody>
      </p:sp>
      <p:sp>
        <p:nvSpPr>
          <p:cNvPr id="50" name="Freeform 49"/>
          <p:cNvSpPr/>
          <p:nvPr/>
        </p:nvSpPr>
        <p:spPr>
          <a:xfrm>
            <a:off x="1835696" y="1556792"/>
            <a:ext cx="576064" cy="3672408"/>
          </a:xfrm>
          <a:custGeom>
            <a:avLst/>
            <a:gdLst>
              <a:gd name="connsiteX0" fmla="*/ 0 w 720080"/>
              <a:gd name="connsiteY0" fmla="*/ 108012 h 432048"/>
              <a:gd name="connsiteX1" fmla="*/ 504056 w 720080"/>
              <a:gd name="connsiteY1" fmla="*/ 108012 h 432048"/>
              <a:gd name="connsiteX2" fmla="*/ 504056 w 720080"/>
              <a:gd name="connsiteY2" fmla="*/ 0 h 432048"/>
              <a:gd name="connsiteX3" fmla="*/ 720080 w 720080"/>
              <a:gd name="connsiteY3" fmla="*/ 216024 h 432048"/>
              <a:gd name="connsiteX4" fmla="*/ 504056 w 720080"/>
              <a:gd name="connsiteY4" fmla="*/ 432048 h 432048"/>
              <a:gd name="connsiteX5" fmla="*/ 504056 w 720080"/>
              <a:gd name="connsiteY5" fmla="*/ 324036 h 432048"/>
              <a:gd name="connsiteX6" fmla="*/ 0 w 720080"/>
              <a:gd name="connsiteY6" fmla="*/ 324036 h 432048"/>
              <a:gd name="connsiteX7" fmla="*/ 0 w 720080"/>
              <a:gd name="connsiteY7" fmla="*/ 108012 h 432048"/>
              <a:gd name="connsiteX0" fmla="*/ 0 w 720080"/>
              <a:gd name="connsiteY0" fmla="*/ 0 h 1944216"/>
              <a:gd name="connsiteX1" fmla="*/ 504056 w 720080"/>
              <a:gd name="connsiteY1" fmla="*/ 1620180 h 1944216"/>
              <a:gd name="connsiteX2" fmla="*/ 504056 w 720080"/>
              <a:gd name="connsiteY2" fmla="*/ 1512168 h 1944216"/>
              <a:gd name="connsiteX3" fmla="*/ 720080 w 720080"/>
              <a:gd name="connsiteY3" fmla="*/ 1728192 h 1944216"/>
              <a:gd name="connsiteX4" fmla="*/ 504056 w 720080"/>
              <a:gd name="connsiteY4" fmla="*/ 1944216 h 1944216"/>
              <a:gd name="connsiteX5" fmla="*/ 504056 w 720080"/>
              <a:gd name="connsiteY5" fmla="*/ 1836204 h 1944216"/>
              <a:gd name="connsiteX6" fmla="*/ 0 w 720080"/>
              <a:gd name="connsiteY6" fmla="*/ 1836204 h 1944216"/>
              <a:gd name="connsiteX7" fmla="*/ 0 w 720080"/>
              <a:gd name="connsiteY7" fmla="*/ 0 h 1944216"/>
              <a:gd name="connsiteX0" fmla="*/ 0 w 720080"/>
              <a:gd name="connsiteY0" fmla="*/ 36004 h 1980220"/>
              <a:gd name="connsiteX1" fmla="*/ 504056 w 720080"/>
              <a:gd name="connsiteY1" fmla="*/ 1656184 h 1980220"/>
              <a:gd name="connsiteX2" fmla="*/ 504056 w 720080"/>
              <a:gd name="connsiteY2" fmla="*/ 1548172 h 1980220"/>
              <a:gd name="connsiteX3" fmla="*/ 720080 w 720080"/>
              <a:gd name="connsiteY3" fmla="*/ 1764196 h 1980220"/>
              <a:gd name="connsiteX4" fmla="*/ 504056 w 720080"/>
              <a:gd name="connsiteY4" fmla="*/ 1980220 h 1980220"/>
              <a:gd name="connsiteX5" fmla="*/ 504056 w 720080"/>
              <a:gd name="connsiteY5" fmla="*/ 1872208 h 1980220"/>
              <a:gd name="connsiteX6" fmla="*/ 0 w 720080"/>
              <a:gd name="connsiteY6" fmla="*/ 1872208 h 1980220"/>
              <a:gd name="connsiteX7" fmla="*/ 0 w 720080"/>
              <a:gd name="connsiteY7" fmla="*/ 36004 h 1980220"/>
              <a:gd name="connsiteX0" fmla="*/ 0 w 720080"/>
              <a:gd name="connsiteY0" fmla="*/ 0 h 1944216"/>
              <a:gd name="connsiteX1" fmla="*/ 504056 w 720080"/>
              <a:gd name="connsiteY1" fmla="*/ 1620180 h 1944216"/>
              <a:gd name="connsiteX2" fmla="*/ 504056 w 720080"/>
              <a:gd name="connsiteY2" fmla="*/ 1512168 h 1944216"/>
              <a:gd name="connsiteX3" fmla="*/ 720080 w 720080"/>
              <a:gd name="connsiteY3" fmla="*/ 1728192 h 1944216"/>
              <a:gd name="connsiteX4" fmla="*/ 504056 w 720080"/>
              <a:gd name="connsiteY4" fmla="*/ 1944216 h 1944216"/>
              <a:gd name="connsiteX5" fmla="*/ 504056 w 720080"/>
              <a:gd name="connsiteY5" fmla="*/ 1836204 h 1944216"/>
              <a:gd name="connsiteX6" fmla="*/ 0 w 720080"/>
              <a:gd name="connsiteY6" fmla="*/ 1836204 h 1944216"/>
              <a:gd name="connsiteX7" fmla="*/ 0 w 720080"/>
              <a:gd name="connsiteY7" fmla="*/ 0 h 1944216"/>
              <a:gd name="connsiteX0" fmla="*/ 38623 w 758703"/>
              <a:gd name="connsiteY0" fmla="*/ 0 h 1944216"/>
              <a:gd name="connsiteX1" fmla="*/ 542679 w 758703"/>
              <a:gd name="connsiteY1" fmla="*/ 1620180 h 1944216"/>
              <a:gd name="connsiteX2" fmla="*/ 542679 w 758703"/>
              <a:gd name="connsiteY2" fmla="*/ 1512168 h 1944216"/>
              <a:gd name="connsiteX3" fmla="*/ 758703 w 758703"/>
              <a:gd name="connsiteY3" fmla="*/ 1728192 h 1944216"/>
              <a:gd name="connsiteX4" fmla="*/ 542679 w 758703"/>
              <a:gd name="connsiteY4" fmla="*/ 1944216 h 1944216"/>
              <a:gd name="connsiteX5" fmla="*/ 542679 w 758703"/>
              <a:gd name="connsiteY5" fmla="*/ 1836204 h 1944216"/>
              <a:gd name="connsiteX6" fmla="*/ 38623 w 758703"/>
              <a:gd name="connsiteY6" fmla="*/ 1836204 h 1944216"/>
              <a:gd name="connsiteX7" fmla="*/ 38623 w 758703"/>
              <a:gd name="connsiteY7" fmla="*/ 0 h 1944216"/>
              <a:gd name="connsiteX0" fmla="*/ 0 w 720080"/>
              <a:gd name="connsiteY0" fmla="*/ 0 h 1944216"/>
              <a:gd name="connsiteX1" fmla="*/ 504056 w 720080"/>
              <a:gd name="connsiteY1" fmla="*/ 1620180 h 1944216"/>
              <a:gd name="connsiteX2" fmla="*/ 504056 w 720080"/>
              <a:gd name="connsiteY2" fmla="*/ 1512168 h 1944216"/>
              <a:gd name="connsiteX3" fmla="*/ 720080 w 720080"/>
              <a:gd name="connsiteY3" fmla="*/ 1728192 h 1944216"/>
              <a:gd name="connsiteX4" fmla="*/ 504056 w 720080"/>
              <a:gd name="connsiteY4" fmla="*/ 1944216 h 1944216"/>
              <a:gd name="connsiteX5" fmla="*/ 504056 w 720080"/>
              <a:gd name="connsiteY5" fmla="*/ 1836204 h 1944216"/>
              <a:gd name="connsiteX6" fmla="*/ 0 w 720080"/>
              <a:gd name="connsiteY6" fmla="*/ 1836204 h 1944216"/>
              <a:gd name="connsiteX7" fmla="*/ 0 w 720080"/>
              <a:gd name="connsiteY7" fmla="*/ 0 h 1944216"/>
              <a:gd name="connsiteX0" fmla="*/ 0 w 720080"/>
              <a:gd name="connsiteY0" fmla="*/ 0 h 3672408"/>
              <a:gd name="connsiteX1" fmla="*/ 504056 w 720080"/>
              <a:gd name="connsiteY1" fmla="*/ 1620180 h 3672408"/>
              <a:gd name="connsiteX2" fmla="*/ 504056 w 720080"/>
              <a:gd name="connsiteY2" fmla="*/ 1512168 h 3672408"/>
              <a:gd name="connsiteX3" fmla="*/ 720080 w 720080"/>
              <a:gd name="connsiteY3" fmla="*/ 1728192 h 3672408"/>
              <a:gd name="connsiteX4" fmla="*/ 504056 w 720080"/>
              <a:gd name="connsiteY4" fmla="*/ 1944216 h 3672408"/>
              <a:gd name="connsiteX5" fmla="*/ 504056 w 720080"/>
              <a:gd name="connsiteY5" fmla="*/ 1836204 h 3672408"/>
              <a:gd name="connsiteX6" fmla="*/ 0 w 720080"/>
              <a:gd name="connsiteY6" fmla="*/ 3672408 h 3672408"/>
              <a:gd name="connsiteX7" fmla="*/ 0 w 720080"/>
              <a:gd name="connsiteY7" fmla="*/ 0 h 3672408"/>
              <a:gd name="connsiteX0" fmla="*/ 0 w 720080"/>
              <a:gd name="connsiteY0" fmla="*/ 0 h 3978442"/>
              <a:gd name="connsiteX1" fmla="*/ 504056 w 720080"/>
              <a:gd name="connsiteY1" fmla="*/ 1620180 h 3978442"/>
              <a:gd name="connsiteX2" fmla="*/ 504056 w 720080"/>
              <a:gd name="connsiteY2" fmla="*/ 1512168 h 3978442"/>
              <a:gd name="connsiteX3" fmla="*/ 720080 w 720080"/>
              <a:gd name="connsiteY3" fmla="*/ 1728192 h 3978442"/>
              <a:gd name="connsiteX4" fmla="*/ 504056 w 720080"/>
              <a:gd name="connsiteY4" fmla="*/ 1944216 h 3978442"/>
              <a:gd name="connsiteX5" fmla="*/ 504056 w 720080"/>
              <a:gd name="connsiteY5" fmla="*/ 1836204 h 3978442"/>
              <a:gd name="connsiteX6" fmla="*/ 0 w 720080"/>
              <a:gd name="connsiteY6" fmla="*/ 3672408 h 3978442"/>
              <a:gd name="connsiteX7" fmla="*/ 0 w 720080"/>
              <a:gd name="connsiteY7" fmla="*/ 0 h 3978442"/>
              <a:gd name="connsiteX0" fmla="*/ 0 w 720080"/>
              <a:gd name="connsiteY0" fmla="*/ 0 h 3672408"/>
              <a:gd name="connsiteX1" fmla="*/ 504056 w 720080"/>
              <a:gd name="connsiteY1" fmla="*/ 1620180 h 3672408"/>
              <a:gd name="connsiteX2" fmla="*/ 504056 w 720080"/>
              <a:gd name="connsiteY2" fmla="*/ 1512168 h 3672408"/>
              <a:gd name="connsiteX3" fmla="*/ 720080 w 720080"/>
              <a:gd name="connsiteY3" fmla="*/ 1728192 h 3672408"/>
              <a:gd name="connsiteX4" fmla="*/ 504056 w 720080"/>
              <a:gd name="connsiteY4" fmla="*/ 1944216 h 3672408"/>
              <a:gd name="connsiteX5" fmla="*/ 504056 w 720080"/>
              <a:gd name="connsiteY5" fmla="*/ 1836204 h 3672408"/>
              <a:gd name="connsiteX6" fmla="*/ 0 w 720080"/>
              <a:gd name="connsiteY6" fmla="*/ 3672408 h 3672408"/>
              <a:gd name="connsiteX7" fmla="*/ 0 w 720080"/>
              <a:gd name="connsiteY7" fmla="*/ 0 h 3672408"/>
              <a:gd name="connsiteX0" fmla="*/ 94528 w 814608"/>
              <a:gd name="connsiteY0" fmla="*/ 0 h 3672408"/>
              <a:gd name="connsiteX1" fmla="*/ 598584 w 814608"/>
              <a:gd name="connsiteY1" fmla="*/ 1620180 h 3672408"/>
              <a:gd name="connsiteX2" fmla="*/ 598584 w 814608"/>
              <a:gd name="connsiteY2" fmla="*/ 1512168 h 3672408"/>
              <a:gd name="connsiteX3" fmla="*/ 814608 w 814608"/>
              <a:gd name="connsiteY3" fmla="*/ 1728192 h 3672408"/>
              <a:gd name="connsiteX4" fmla="*/ 598584 w 814608"/>
              <a:gd name="connsiteY4" fmla="*/ 1944216 h 3672408"/>
              <a:gd name="connsiteX5" fmla="*/ 598584 w 814608"/>
              <a:gd name="connsiteY5" fmla="*/ 1836204 h 3672408"/>
              <a:gd name="connsiteX6" fmla="*/ 94528 w 814608"/>
              <a:gd name="connsiteY6" fmla="*/ 3672408 h 3672408"/>
              <a:gd name="connsiteX7" fmla="*/ 94528 w 814608"/>
              <a:gd name="connsiteY7" fmla="*/ 0 h 3672408"/>
              <a:gd name="connsiteX0" fmla="*/ 110414 w 830494"/>
              <a:gd name="connsiteY0" fmla="*/ 0 h 3672408"/>
              <a:gd name="connsiteX1" fmla="*/ 614470 w 830494"/>
              <a:gd name="connsiteY1" fmla="*/ 1620180 h 3672408"/>
              <a:gd name="connsiteX2" fmla="*/ 614470 w 830494"/>
              <a:gd name="connsiteY2" fmla="*/ 1512168 h 3672408"/>
              <a:gd name="connsiteX3" fmla="*/ 830494 w 830494"/>
              <a:gd name="connsiteY3" fmla="*/ 1728192 h 3672408"/>
              <a:gd name="connsiteX4" fmla="*/ 614470 w 830494"/>
              <a:gd name="connsiteY4" fmla="*/ 1944216 h 3672408"/>
              <a:gd name="connsiteX5" fmla="*/ 614470 w 830494"/>
              <a:gd name="connsiteY5" fmla="*/ 1836204 h 3672408"/>
              <a:gd name="connsiteX6" fmla="*/ 110414 w 830494"/>
              <a:gd name="connsiteY6" fmla="*/ 3672408 h 3672408"/>
              <a:gd name="connsiteX7" fmla="*/ 110414 w 830494"/>
              <a:gd name="connsiteY7" fmla="*/ 0 h 3672408"/>
              <a:gd name="connsiteX0" fmla="*/ 0 w 720080"/>
              <a:gd name="connsiteY0" fmla="*/ 0 h 3672408"/>
              <a:gd name="connsiteX1" fmla="*/ 504056 w 720080"/>
              <a:gd name="connsiteY1" fmla="*/ 1620180 h 3672408"/>
              <a:gd name="connsiteX2" fmla="*/ 504056 w 720080"/>
              <a:gd name="connsiteY2" fmla="*/ 1512168 h 3672408"/>
              <a:gd name="connsiteX3" fmla="*/ 720080 w 720080"/>
              <a:gd name="connsiteY3" fmla="*/ 1728192 h 3672408"/>
              <a:gd name="connsiteX4" fmla="*/ 504056 w 720080"/>
              <a:gd name="connsiteY4" fmla="*/ 1944216 h 3672408"/>
              <a:gd name="connsiteX5" fmla="*/ 504056 w 720080"/>
              <a:gd name="connsiteY5" fmla="*/ 1836204 h 3672408"/>
              <a:gd name="connsiteX6" fmla="*/ 0 w 720080"/>
              <a:gd name="connsiteY6" fmla="*/ 3672408 h 3672408"/>
              <a:gd name="connsiteX7" fmla="*/ 0 w 720080"/>
              <a:gd name="connsiteY7" fmla="*/ 0 h 3672408"/>
              <a:gd name="connsiteX0" fmla="*/ 0 w 720080"/>
              <a:gd name="connsiteY0" fmla="*/ 0 h 3672408"/>
              <a:gd name="connsiteX1" fmla="*/ 504056 w 720080"/>
              <a:gd name="connsiteY1" fmla="*/ 1620180 h 3672408"/>
              <a:gd name="connsiteX2" fmla="*/ 504056 w 720080"/>
              <a:gd name="connsiteY2" fmla="*/ 1512168 h 3672408"/>
              <a:gd name="connsiteX3" fmla="*/ 720080 w 720080"/>
              <a:gd name="connsiteY3" fmla="*/ 1728192 h 3672408"/>
              <a:gd name="connsiteX4" fmla="*/ 504056 w 720080"/>
              <a:gd name="connsiteY4" fmla="*/ 1944216 h 3672408"/>
              <a:gd name="connsiteX5" fmla="*/ 504056 w 720080"/>
              <a:gd name="connsiteY5" fmla="*/ 1836204 h 3672408"/>
              <a:gd name="connsiteX6" fmla="*/ 0 w 720080"/>
              <a:gd name="connsiteY6" fmla="*/ 3672408 h 3672408"/>
              <a:gd name="connsiteX7" fmla="*/ 0 w 720080"/>
              <a:gd name="connsiteY7" fmla="*/ 0 h 367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0080" h="3672408">
                <a:moveTo>
                  <a:pt x="0" y="0"/>
                </a:moveTo>
                <a:cubicBezTo>
                  <a:pt x="34018" y="829391"/>
                  <a:pt x="159470" y="1434580"/>
                  <a:pt x="504056" y="1620180"/>
                </a:cubicBezTo>
                <a:lnTo>
                  <a:pt x="504056" y="1512168"/>
                </a:lnTo>
                <a:lnTo>
                  <a:pt x="720080" y="1728192"/>
                </a:lnTo>
                <a:lnTo>
                  <a:pt x="504056" y="1944216"/>
                </a:lnTo>
                <a:lnTo>
                  <a:pt x="504056" y="1836204"/>
                </a:lnTo>
                <a:cubicBezTo>
                  <a:pt x="122805" y="1941310"/>
                  <a:pt x="58336" y="2828929"/>
                  <a:pt x="0" y="367240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15539C"/>
              </a:solidFill>
            </a:endParaRPr>
          </a:p>
        </p:txBody>
      </p:sp>
      <p:sp>
        <p:nvSpPr>
          <p:cNvPr id="44" name="Rectangle 3"/>
          <p:cNvSpPr txBox="1">
            <a:spLocks noChangeArrowheads="1"/>
          </p:cNvSpPr>
          <p:nvPr/>
        </p:nvSpPr>
        <p:spPr>
          <a:xfrm rot="16200000">
            <a:off x="1486184" y="3101256"/>
            <a:ext cx="982439" cy="34178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1313" indent="-341313" algn="ctr">
              <a:spcBef>
                <a:spcPct val="20000"/>
              </a:spcBef>
              <a:buClr>
                <a:srgbClr val="003399"/>
              </a:buClr>
              <a:defRPr/>
            </a:pPr>
            <a:r>
              <a:rPr lang="en-US" sz="1600" kern="0" dirty="0" smtClean="0">
                <a:solidFill>
                  <a:schemeClr val="bg1"/>
                </a:solidFill>
              </a:rPr>
              <a:t>Data</a:t>
            </a:r>
            <a:endParaRPr lang="en-US" sz="1600" kern="0" dirty="0" smtClean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7" name="Picture 66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95116" y="1994808"/>
            <a:ext cx="889579" cy="858128"/>
          </a:xfrm>
          <a:prstGeom prst="rect">
            <a:avLst/>
          </a:prstGeom>
          <a:noFill/>
          <a:ln w="41275">
            <a:noFill/>
            <a:miter lim="800000"/>
            <a:headEnd/>
            <a:tailEnd/>
          </a:ln>
        </p:spPr>
      </p:pic>
      <p:sp>
        <p:nvSpPr>
          <p:cNvPr id="68" name="Rectangle 67"/>
          <p:cNvSpPr/>
          <p:nvPr/>
        </p:nvSpPr>
        <p:spPr>
          <a:xfrm>
            <a:off x="35496" y="2825448"/>
            <a:ext cx="17643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~200 systems</a:t>
            </a:r>
            <a:endParaRPr lang="en-US" sz="1600" dirty="0"/>
          </a:p>
        </p:txBody>
      </p:sp>
      <p:sp>
        <p:nvSpPr>
          <p:cNvPr id="69" name="Rectangle 68"/>
          <p:cNvSpPr/>
          <p:nvPr/>
        </p:nvSpPr>
        <p:spPr>
          <a:xfrm>
            <a:off x="35496" y="4221088"/>
            <a:ext cx="176431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~300PLCs</a:t>
            </a:r>
          </a:p>
          <a:p>
            <a:pPr algn="ctr"/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~100 FECs</a:t>
            </a:r>
            <a:endParaRPr lang="en-US" sz="1600" dirty="0"/>
          </a:p>
        </p:txBody>
      </p:sp>
      <p:pic>
        <p:nvPicPr>
          <p:cNvPr id="23" name="Picture 22" descr="mzl.ceijisml.png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233252" y="1844824"/>
            <a:ext cx="517321" cy="517321"/>
          </a:xfrm>
          <a:prstGeom prst="rect">
            <a:avLst/>
          </a:prstGeom>
        </p:spPr>
      </p:pic>
      <p:sp>
        <p:nvSpPr>
          <p:cNvPr id="4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7" name="Up-Down Arrow 6"/>
          <p:cNvSpPr/>
          <p:nvPr/>
        </p:nvSpPr>
        <p:spPr>
          <a:xfrm>
            <a:off x="776290" y="3140968"/>
            <a:ext cx="302519" cy="554512"/>
          </a:xfrm>
          <a:prstGeom prst="up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4" name="Up-Down Arrow 63"/>
          <p:cNvSpPr/>
          <p:nvPr/>
        </p:nvSpPr>
        <p:spPr>
          <a:xfrm>
            <a:off x="762664" y="4746696"/>
            <a:ext cx="302519" cy="554512"/>
          </a:xfrm>
          <a:prstGeom prst="up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0" name="Picture 69" descr="SI_PS2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552414" y="5200194"/>
            <a:ext cx="220027" cy="389147"/>
          </a:xfrm>
          <a:prstGeom prst="rect">
            <a:avLst/>
          </a:prstGeom>
          <a:solidFill>
            <a:schemeClr val="accent1">
              <a:alpha val="29019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71" name="Picture 70" descr="C:\Documents and Settings\Enrique Blanco.PCEBHOME\Desktop\presentations\flowmeter.TIF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995936" y="5229669"/>
            <a:ext cx="178860" cy="331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" name="Rectangle 71"/>
          <p:cNvSpPr/>
          <p:nvPr/>
        </p:nvSpPr>
        <p:spPr>
          <a:xfrm>
            <a:off x="56794" y="5598048"/>
            <a:ext cx="17643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~5*10</a:t>
            </a:r>
            <a:r>
              <a:rPr lang="en-GB" sz="1600" b="1" baseline="30000" dirty="0" smtClean="0">
                <a:solidFill>
                  <a:srgbClr val="4F81BD">
                    <a:lumMod val="75000"/>
                  </a:srgbClr>
                </a:solidFill>
              </a:rPr>
              <a:t>7</a:t>
            </a:r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 I/</a:t>
            </a:r>
            <a:r>
              <a:rPr lang="en-GB" sz="1600" b="1" dirty="0" err="1" smtClean="0">
                <a:solidFill>
                  <a:srgbClr val="4F81BD">
                    <a:lumMod val="75000"/>
                  </a:srgbClr>
                </a:solidFill>
              </a:rPr>
              <a:t>Os</a:t>
            </a:r>
            <a:endParaRPr lang="en-US" sz="1600" dirty="0"/>
          </a:p>
        </p:txBody>
      </p:sp>
      <p:grpSp>
        <p:nvGrpSpPr>
          <p:cNvPr id="73" name="Group 48"/>
          <p:cNvGrpSpPr/>
          <p:nvPr/>
        </p:nvGrpSpPr>
        <p:grpSpPr>
          <a:xfrm>
            <a:off x="7164288" y="1994808"/>
            <a:ext cx="1415814" cy="1545022"/>
            <a:chOff x="10957945" y="4303524"/>
            <a:chExt cx="1051099" cy="1267569"/>
          </a:xfrm>
        </p:grpSpPr>
        <p:pic>
          <p:nvPicPr>
            <p:cNvPr id="74" name="Picture 10" descr="D:\Users\mchn3680\Pictures\Slides\Pictures\shutterstock_66272299- DB.png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11424084" y="4303524"/>
              <a:ext cx="584960" cy="792133"/>
            </a:xfrm>
            <a:prstGeom prst="rect">
              <a:avLst/>
            </a:prstGeom>
            <a:noFill/>
          </p:spPr>
        </p:pic>
        <p:pic>
          <p:nvPicPr>
            <p:cNvPr id="75" name="Picture 7" descr="D:\Users\mchn3680\Pictures\Slides\Pictures\shutterstock_86729548.jp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2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0957945" y="4699590"/>
              <a:ext cx="1033849" cy="871503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502371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/>
          <p:cNvSpPr/>
          <p:nvPr/>
        </p:nvSpPr>
        <p:spPr>
          <a:xfrm>
            <a:off x="1331640" y="4869160"/>
            <a:ext cx="7344816" cy="57606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1640" y="274637"/>
            <a:ext cx="7355160" cy="1143000"/>
          </a:xfrm>
        </p:spPr>
        <p:txBody>
          <a:bodyPr>
            <a:normAutofit/>
          </a:bodyPr>
          <a:lstStyle/>
          <a:p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</a:rPr>
              <a:t>Understanding the GAS system behaviour with Smart Data: </a:t>
            </a:r>
            <a:br>
              <a:rPr lang="en-GB" sz="20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Identifying a root-caus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403648" y="4869160"/>
            <a:ext cx="7272808" cy="142192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Objective: Support the operator during diagnostic activities shortening the analysis time and avoiding or shorting the downtimes</a:t>
            </a:r>
          </a:p>
          <a:p>
            <a:pPr lvl="1" indent="-342900">
              <a:buSzPct val="150000"/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1</a:t>
            </a:r>
            <a:r>
              <a:rPr lang="en-GB" sz="1600" baseline="30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t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Phase: learning system behaviour by extracting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fault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ignatures</a:t>
            </a:r>
          </a:p>
          <a:p>
            <a:pPr lvl="1" indent="-342900">
              <a:buSzPct val="150000"/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2</a:t>
            </a:r>
            <a:r>
              <a:rPr lang="en-GB" sz="1600" baseline="30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nd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Phase: automatic fault classification by comparing  the current events and alarm with the previously extracted signature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71600" y="4077072"/>
            <a:ext cx="30243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vent lists generated </a:t>
            </a:r>
          </a:p>
          <a:p>
            <a:pPr algn="ctr"/>
            <a:r>
              <a:rPr lang="en-GB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by the same fault</a:t>
            </a:r>
            <a:endParaRPr lang="en-GB" sz="1600" b="1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2" y="1268760"/>
            <a:ext cx="2671611" cy="890537"/>
          </a:xfrm>
          <a:prstGeom prst="rect">
            <a:avLst/>
          </a:prstGeom>
          <a:noFill/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160" y="2609690"/>
            <a:ext cx="2671612" cy="1251358"/>
          </a:xfrm>
          <a:prstGeom prst="rect">
            <a:avLst/>
          </a:prstGeom>
          <a:noFill/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>
            <a:off x="5868144" y="4149080"/>
            <a:ext cx="30664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xtracted fault signatures</a:t>
            </a:r>
          </a:p>
        </p:txBody>
      </p:sp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8" name="Straight Connector 27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268760"/>
            <a:ext cx="2701526" cy="2483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angle 30"/>
          <p:cNvSpPr/>
          <p:nvPr/>
        </p:nvSpPr>
        <p:spPr>
          <a:xfrm>
            <a:off x="991163" y="1844334"/>
            <a:ext cx="2232666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ctangle 31"/>
          <p:cNvSpPr/>
          <p:nvPr/>
        </p:nvSpPr>
        <p:spPr>
          <a:xfrm>
            <a:off x="971600" y="2175209"/>
            <a:ext cx="2232666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3" name="Rectangle 32"/>
          <p:cNvSpPr/>
          <p:nvPr/>
        </p:nvSpPr>
        <p:spPr>
          <a:xfrm>
            <a:off x="983414" y="2388645"/>
            <a:ext cx="2232666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/>
          <p:cNvSpPr/>
          <p:nvPr/>
        </p:nvSpPr>
        <p:spPr>
          <a:xfrm>
            <a:off x="975665" y="3189239"/>
            <a:ext cx="2232666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5" name="Rectangle 34"/>
          <p:cNvSpPr/>
          <p:nvPr/>
        </p:nvSpPr>
        <p:spPr>
          <a:xfrm>
            <a:off x="971600" y="3325506"/>
            <a:ext cx="2232666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546" y="1634282"/>
            <a:ext cx="2701526" cy="2483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1342550" y="2208218"/>
            <a:ext cx="2699522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Rectangle 37"/>
          <p:cNvSpPr/>
          <p:nvPr/>
        </p:nvSpPr>
        <p:spPr>
          <a:xfrm>
            <a:off x="1358004" y="2550106"/>
            <a:ext cx="2684068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/>
          <p:cNvSpPr/>
          <p:nvPr/>
        </p:nvSpPr>
        <p:spPr>
          <a:xfrm>
            <a:off x="1351620" y="2753800"/>
            <a:ext cx="2690451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Rectangle 39"/>
          <p:cNvSpPr/>
          <p:nvPr/>
        </p:nvSpPr>
        <p:spPr>
          <a:xfrm>
            <a:off x="1351619" y="3557028"/>
            <a:ext cx="2690451" cy="55320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Rectangle 40"/>
          <p:cNvSpPr/>
          <p:nvPr/>
        </p:nvSpPr>
        <p:spPr>
          <a:xfrm>
            <a:off x="1351620" y="3686736"/>
            <a:ext cx="2690449" cy="65794"/>
          </a:xfrm>
          <a:prstGeom prst="rect">
            <a:avLst/>
          </a:prstGeom>
          <a:solidFill>
            <a:srgbClr val="FFFF00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Right Arrow 41"/>
          <p:cNvSpPr/>
          <p:nvPr/>
        </p:nvSpPr>
        <p:spPr>
          <a:xfrm>
            <a:off x="4603065" y="1995099"/>
            <a:ext cx="721671" cy="288032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2076" y="4415929"/>
            <a:ext cx="175642" cy="165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 descr="mzl.ceijisml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311105" y="3750241"/>
            <a:ext cx="1020535" cy="1020535"/>
          </a:xfrm>
          <a:prstGeom prst="rect">
            <a:avLst/>
          </a:prstGeom>
        </p:spPr>
      </p:pic>
      <p:sp>
        <p:nvSpPr>
          <p:cNvPr id="46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252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4175069"/>
              </p:ext>
            </p:extLst>
          </p:nvPr>
        </p:nvGraphicFramePr>
        <p:xfrm>
          <a:off x="457199" y="1106710"/>
          <a:ext cx="8507289" cy="5274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0585"/>
                <a:gridCol w="3024336"/>
                <a:gridCol w="3312368"/>
              </a:tblGrid>
              <a:tr h="553235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Title</a:t>
                      </a:r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escrip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Analysis</a:t>
                      </a:r>
                      <a:r>
                        <a:rPr lang="en-GB" baseline="0" dirty="0" smtClean="0"/>
                        <a:t> Results</a:t>
                      </a:r>
                      <a:endParaRPr lang="en-GB" dirty="0"/>
                    </a:p>
                  </a:txBody>
                  <a:tcPr/>
                </a:tc>
              </a:tr>
              <a:tr h="1534997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On-line analysis of control alarms</a:t>
                      </a:r>
                      <a:endParaRPr lang="en-GB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arms analysis to detect anomalies or abnormal behaviours at the single device</a:t>
                      </a:r>
                      <a:r>
                        <a:rPr lang="en-GB" sz="1800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level</a:t>
                      </a:r>
                      <a:endParaRPr lang="en-GB" sz="1800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</a:tr>
              <a:tr h="1551251"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ault sensor</a:t>
                      </a:r>
                      <a:r>
                        <a:rPr lang="en-GB" sz="1800" b="1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measurements detection for the cryogenic system</a:t>
                      </a:r>
                      <a:endParaRPr lang="en-GB" sz="18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sign and implementation of algorithm to detect faults in sensors measurements</a:t>
                      </a:r>
                      <a:endParaRPr lang="en-GB" sz="1800" kern="120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</a:tr>
              <a:tr h="1635135">
                <a:tc>
                  <a:txBody>
                    <a:bodyPr/>
                    <a:lstStyle/>
                    <a:p>
                      <a:pPr algn="ctr"/>
                      <a:r>
                        <a:rPr lang="en-GB" sz="18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ryogenic valves </a:t>
                      </a:r>
                    </a:p>
                    <a:p>
                      <a:pPr algn="ctr"/>
                      <a:r>
                        <a:rPr lang="en-GB" sz="18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scillation</a:t>
                      </a:r>
                      <a:endParaRPr lang="en-GB" sz="18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800" kern="1200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ptimize the regulation of control valves by spotting oscillator behaviours</a:t>
                      </a:r>
                      <a:endParaRPr lang="en-GB" sz="1800" kern="120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3648" y="53752"/>
            <a:ext cx="7283152" cy="1143000"/>
          </a:xfrm>
        </p:spPr>
        <p:txBody>
          <a:bodyPr/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Data Analytics use-cases:</a:t>
            </a:r>
            <a:b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800" b="0" dirty="0" smtClean="0">
                <a:solidFill>
                  <a:schemeClr val="accent1">
                    <a:lumMod val="75000"/>
                  </a:schemeClr>
                </a:solidFill>
              </a:rPr>
              <a:t>few examples, but many more!</a:t>
            </a:r>
            <a:endParaRPr lang="en-US" sz="36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4343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14</a:t>
            </a:fld>
            <a:endParaRPr lang="en-GB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740" y="1707603"/>
            <a:ext cx="2838089" cy="146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85185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257195" y="844078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01"/>
          <a:stretch/>
        </p:blipFill>
        <p:spPr bwMode="auto">
          <a:xfrm>
            <a:off x="5900741" y="3227293"/>
            <a:ext cx="2838088" cy="1494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0144" y="3488820"/>
            <a:ext cx="956192" cy="178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val 2"/>
          <p:cNvSpPr/>
          <p:nvPr/>
        </p:nvSpPr>
        <p:spPr>
          <a:xfrm>
            <a:off x="7694348" y="3488820"/>
            <a:ext cx="90742" cy="72008"/>
          </a:xfrm>
          <a:prstGeom prst="ellipse">
            <a:avLst/>
          </a:prstGeom>
          <a:noFill/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740" y="5728233"/>
            <a:ext cx="2838089" cy="623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740" y="4779515"/>
            <a:ext cx="2838089" cy="948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/>
              <p:cNvSpPr txBox="1"/>
              <p:nvPr/>
            </p:nvSpPr>
            <p:spPr>
              <a:xfrm>
                <a:off x="6732240" y="5772716"/>
                <a:ext cx="2006590" cy="25044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sz="1100" b="0" i="1">
                          <a:solidFill>
                            <a:srgbClr val="003366"/>
                          </a:solidFill>
                          <a:latin typeface="Cambria Math"/>
                        </a:rPr>
                        <m:t>𝑠</m:t>
                      </m:r>
                      <m:d>
                        <m:dPr>
                          <m:ctrlPr>
                            <a:rPr lang="en-GB" sz="1100" i="1">
                              <a:solidFill>
                                <a:srgbClr val="003366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sz="1100" b="0" i="1">
                              <a:solidFill>
                                <a:srgbClr val="003366"/>
                              </a:solidFill>
                              <a:latin typeface="Cambria Math"/>
                            </a:rPr>
                            <m:t>𝑡</m:t>
                          </m:r>
                        </m:e>
                      </m:d>
                      <m:r>
                        <a:rPr lang="en-GB" sz="1100" b="0" i="1">
                          <a:solidFill>
                            <a:srgbClr val="003366"/>
                          </a:solidFill>
                          <a:latin typeface="Cambria Math"/>
                        </a:rPr>
                        <m:t>=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𝐴</m:t>
                      </m:r>
                      <m:r>
                        <a:rPr lang="en-GB" sz="1100" b="0" i="1" baseline="-25000" dirty="0">
                          <a:solidFill>
                            <a:srgbClr val="003366"/>
                          </a:solidFill>
                          <a:latin typeface="Cambria Math"/>
                        </a:rPr>
                        <m:t>𝑘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 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𝑠𝑖𝑛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⁡(2∗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𝜋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∗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𝑓𝑘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∗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𝑡</m:t>
                      </m:r>
                      <m:r>
                        <a:rPr lang="en-GB" sz="1100" b="0" i="1" dirty="0">
                          <a:solidFill>
                            <a:srgbClr val="003366"/>
                          </a:solidFill>
                          <a:latin typeface="Cambria Math"/>
                        </a:rPr>
                        <m:t>)</m:t>
                      </m:r>
                    </m:oMath>
                  </m:oMathPara>
                </a14:m>
                <a:endParaRPr lang="en-GB" sz="1100" i="1" dirty="0">
                  <a:solidFill>
                    <a:srgbClr val="003366"/>
                  </a:solidFill>
                </a:endParaRPr>
              </a:p>
            </p:txBody>
          </p:sp>
        </mc:Choice>
        <mc:Fallback xmlns="">
          <p:sp>
            <p:nvSpPr>
              <p:cNvPr id="17" name="TextBox 1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32240" y="5772716"/>
                <a:ext cx="2006590" cy="250445"/>
              </a:xfrm>
              <a:prstGeom prst="rect">
                <a:avLst/>
              </a:prstGeom>
              <a:blipFill rotWithShape="0">
                <a:blip r:embed="rId9"/>
                <a:stretch>
                  <a:fillRect b="-975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21" name="Straight Arrow Connector 20"/>
          <p:cNvCxnSpPr/>
          <p:nvPr/>
        </p:nvCxnSpPr>
        <p:spPr>
          <a:xfrm flipH="1">
            <a:off x="6732240" y="5628700"/>
            <a:ext cx="587544" cy="288032"/>
          </a:xfrm>
          <a:prstGeom prst="straightConnector1">
            <a:avLst/>
          </a:prstGeom>
          <a:ln w="952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Left Brace 23"/>
          <p:cNvSpPr/>
          <p:nvPr/>
        </p:nvSpPr>
        <p:spPr>
          <a:xfrm rot="5400000">
            <a:off x="7309800" y="5102872"/>
            <a:ext cx="268268" cy="63937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7132974" y="5133853"/>
                <a:ext cx="661203" cy="18816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no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"/>
                    </m:oMathParaPr>
                    <m:oMath xmlns:m="http://schemas.openxmlformats.org/officeDocument/2006/math">
                      <m:r>
                        <a:rPr lang="en-GB" sz="1100" b="0" i="1" smtClean="0">
                          <a:solidFill>
                            <a:srgbClr val="003366"/>
                          </a:solidFill>
                          <a:latin typeface="Cambria Math" panose="02040503050406030204" pitchFamily="18" charset="0"/>
                        </a:rPr>
                        <m:t>𝑇</m:t>
                      </m:r>
                      <m:r>
                        <a:rPr lang="en-GB" sz="1100" b="0" i="1" smtClean="0">
                          <a:solidFill>
                            <a:srgbClr val="003366"/>
                          </a:solidFill>
                          <a:latin typeface="Cambria Math" panose="02040503050406030204" pitchFamily="18" charset="0"/>
                        </a:rPr>
                        <m:t> ~ 1.5</m:t>
                      </m:r>
                      <m:r>
                        <a:rPr lang="en-GB" sz="1100" b="0" i="1" smtClean="0">
                          <a:solidFill>
                            <a:srgbClr val="003366"/>
                          </a:solidFill>
                          <a:latin typeface="Cambria Math" panose="02040503050406030204" pitchFamily="18" charset="0"/>
                        </a:rPr>
                        <m:t>h</m:t>
                      </m:r>
                    </m:oMath>
                  </m:oMathPara>
                </a14:m>
                <a:endParaRPr lang="en-GB" sz="1100" i="1" dirty="0">
                  <a:solidFill>
                    <a:srgbClr val="003366"/>
                  </a:solidFill>
                </a:endParaRPr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32974" y="5133853"/>
                <a:ext cx="661203" cy="188163"/>
              </a:xfrm>
              <a:prstGeom prst="rect">
                <a:avLst/>
              </a:prstGeom>
              <a:blipFill rotWithShape="0">
                <a:blip r:embed="rId10"/>
                <a:stretch>
                  <a:fillRect b="-2258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Freeform 26"/>
          <p:cNvSpPr/>
          <p:nvPr/>
        </p:nvSpPr>
        <p:spPr>
          <a:xfrm>
            <a:off x="6235337" y="6167238"/>
            <a:ext cx="2386149" cy="57280"/>
          </a:xfrm>
          <a:custGeom>
            <a:avLst/>
            <a:gdLst>
              <a:gd name="connsiteX0" fmla="*/ 0 w 2386149"/>
              <a:gd name="connsiteY0" fmla="*/ 5028 h 57280"/>
              <a:gd name="connsiteX1" fmla="*/ 1053737 w 2386149"/>
              <a:gd name="connsiteY1" fmla="*/ 5028 h 57280"/>
              <a:gd name="connsiteX2" fmla="*/ 2386149 w 2386149"/>
              <a:gd name="connsiteY2" fmla="*/ 57280 h 5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86149" h="57280">
                <a:moveTo>
                  <a:pt x="0" y="5028"/>
                </a:moveTo>
                <a:cubicBezTo>
                  <a:pt x="328023" y="673"/>
                  <a:pt x="656046" y="-3681"/>
                  <a:pt x="1053737" y="5028"/>
                </a:cubicBezTo>
                <a:cubicBezTo>
                  <a:pt x="1451428" y="13737"/>
                  <a:pt x="2146663" y="26800"/>
                  <a:pt x="2386149" y="57280"/>
                </a:cubicBezTo>
              </a:path>
            </a:pathLst>
          </a:cu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3732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Freeform 118"/>
          <p:cNvSpPr/>
          <p:nvPr/>
        </p:nvSpPr>
        <p:spPr>
          <a:xfrm>
            <a:off x="322615" y="4227481"/>
            <a:ext cx="3570109" cy="1834691"/>
          </a:xfrm>
          <a:custGeom>
            <a:avLst/>
            <a:gdLst>
              <a:gd name="connsiteX0" fmla="*/ 579120 w 2796540"/>
              <a:gd name="connsiteY0" fmla="*/ 22860 h 1684020"/>
              <a:gd name="connsiteX1" fmla="*/ 579120 w 2796540"/>
              <a:gd name="connsiteY1" fmla="*/ 815340 h 1684020"/>
              <a:gd name="connsiteX2" fmla="*/ 0 w 2796540"/>
              <a:gd name="connsiteY2" fmla="*/ 815340 h 1684020"/>
              <a:gd name="connsiteX3" fmla="*/ 0 w 2796540"/>
              <a:gd name="connsiteY3" fmla="*/ 1684020 h 1684020"/>
              <a:gd name="connsiteX4" fmla="*/ 777240 w 2796540"/>
              <a:gd name="connsiteY4" fmla="*/ 1684020 h 1684020"/>
              <a:gd name="connsiteX5" fmla="*/ 777240 w 2796540"/>
              <a:gd name="connsiteY5" fmla="*/ 1501140 h 1684020"/>
              <a:gd name="connsiteX6" fmla="*/ 2796540 w 2796540"/>
              <a:gd name="connsiteY6" fmla="*/ 1501140 h 1684020"/>
              <a:gd name="connsiteX7" fmla="*/ 2796540 w 2796540"/>
              <a:gd name="connsiteY7" fmla="*/ 830580 h 1684020"/>
              <a:gd name="connsiteX8" fmla="*/ 2141220 w 2796540"/>
              <a:gd name="connsiteY8" fmla="*/ 830580 h 1684020"/>
              <a:gd name="connsiteX9" fmla="*/ 2141220 w 2796540"/>
              <a:gd name="connsiteY9" fmla="*/ 0 h 1684020"/>
              <a:gd name="connsiteX10" fmla="*/ 579120 w 2796540"/>
              <a:gd name="connsiteY10" fmla="*/ 22860 h 1684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796540" h="1684020">
                <a:moveTo>
                  <a:pt x="579120" y="22860"/>
                </a:moveTo>
                <a:lnTo>
                  <a:pt x="579120" y="815340"/>
                </a:lnTo>
                <a:lnTo>
                  <a:pt x="0" y="815340"/>
                </a:lnTo>
                <a:lnTo>
                  <a:pt x="0" y="1684020"/>
                </a:lnTo>
                <a:lnTo>
                  <a:pt x="777240" y="1684020"/>
                </a:lnTo>
                <a:lnTo>
                  <a:pt x="777240" y="1501140"/>
                </a:lnTo>
                <a:lnTo>
                  <a:pt x="2796540" y="1501140"/>
                </a:lnTo>
                <a:lnTo>
                  <a:pt x="2796540" y="830580"/>
                </a:lnTo>
                <a:lnTo>
                  <a:pt x="2141220" y="830580"/>
                </a:lnTo>
                <a:lnTo>
                  <a:pt x="2141220" y="0"/>
                </a:lnTo>
                <a:lnTo>
                  <a:pt x="579120" y="22860"/>
                </a:lnTo>
                <a:close/>
              </a:path>
            </a:pathLst>
          </a:cu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Rectangle 66"/>
          <p:cNvSpPr/>
          <p:nvPr/>
        </p:nvSpPr>
        <p:spPr>
          <a:xfrm>
            <a:off x="1339990" y="899198"/>
            <a:ext cx="7624498" cy="99234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Centralized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eployment Tool (CDT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4343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65" name="Content Placeholder 2"/>
          <p:cNvSpPr txBox="1">
            <a:spLocks/>
          </p:cNvSpPr>
          <p:nvPr/>
        </p:nvSpPr>
        <p:spPr>
          <a:xfrm>
            <a:off x="4054256" y="2196841"/>
            <a:ext cx="4910232" cy="91436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SCII Manager </a:t>
            </a:r>
            <a:r>
              <a:rPr lang="en-US" sz="16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s a key component of the CDT</a:t>
            </a:r>
          </a:p>
          <a:p>
            <a:pPr marL="800100" lvl="8" indent="-342900"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jects DB imports/exports from/to </a:t>
            </a: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iles</a:t>
            </a:r>
          </a:p>
          <a:p>
            <a:pPr marL="800100" lvl="8" indent="-342900"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</a:rPr>
              <a:t>Hardware equipment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figuration</a:t>
            </a:r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6" name="Content Placeholder 2"/>
          <p:cNvSpPr txBox="1">
            <a:spLocks/>
          </p:cNvSpPr>
          <p:nvPr/>
        </p:nvSpPr>
        <p:spPr>
          <a:xfrm>
            <a:off x="1295926" y="905062"/>
            <a:ext cx="7828236" cy="4123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Large </a:t>
            </a:r>
            <a:r>
              <a:rPr lang="en-GB" sz="18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rol </a:t>
            </a:r>
            <a:r>
              <a:rPr lang="en-GB" sz="18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pplications </a:t>
            </a:r>
            <a:r>
              <a:rPr lang="en-GB" sz="18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@CERN</a:t>
            </a:r>
            <a:r>
              <a:rPr lang="en-GB" sz="18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: </a:t>
            </a:r>
            <a:endParaRPr lang="en-GB" sz="1800" b="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+</a:t>
            </a:r>
            <a:r>
              <a:rPr lang="en-GB" sz="14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150 interconnected WinCC OA systems</a:t>
            </a:r>
          </a:p>
          <a:p>
            <a:r>
              <a:rPr lang="en-GB" sz="18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Upgrade sets </a:t>
            </a:r>
            <a:r>
              <a:rPr lang="en-GB" sz="18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of WinCC OA </a:t>
            </a:r>
            <a:r>
              <a:rPr lang="en-GB" sz="18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pplications </a:t>
            </a:r>
            <a:r>
              <a:rPr lang="en-GB" sz="18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 a centralized </a:t>
            </a:r>
            <a:r>
              <a:rPr lang="en-GB" sz="18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ashion</a:t>
            </a:r>
            <a:endParaRPr lang="en-GB" sz="1800" b="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8" name="Content Placeholder 2"/>
          <p:cNvSpPr txBox="1">
            <a:spLocks/>
          </p:cNvSpPr>
          <p:nvPr/>
        </p:nvSpPr>
        <p:spPr>
          <a:xfrm>
            <a:off x="4052398" y="3450742"/>
            <a:ext cx="4912090" cy="17784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en-US"/>
            </a:defPPr>
            <a:lvl1pPr marL="342900" indent="-342900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000" b="1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742950" indent="-285750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>
                <a:solidFill>
                  <a:srgbClr val="222268"/>
                </a:solidFill>
              </a:defRPr>
            </a:lvl2pPr>
            <a:lvl3pPr marL="1143000" indent="-228600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>
                <a:solidFill>
                  <a:srgbClr val="222268"/>
                </a:solidFill>
              </a:defRPr>
            </a:lvl3pPr>
            <a:lvl4pPr marL="1600200" indent="-228600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>
                <a:solidFill>
                  <a:srgbClr val="222268"/>
                </a:solidFill>
              </a:defRPr>
            </a:lvl4pPr>
            <a:lvl5pPr marL="2057400" indent="-228600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>
                <a:solidFill>
                  <a:srgbClr val="222268"/>
                </a:solidFill>
              </a:defRPr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800100" lvl="8" indent="-342900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16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indent="0">
              <a:buNone/>
            </a:pPr>
            <a:r>
              <a:rPr lang="en-GB" sz="1600" dirty="0" smtClean="0"/>
              <a:t>Goal</a:t>
            </a:r>
            <a:endParaRPr lang="en-GB" sz="1600" dirty="0"/>
          </a:p>
          <a:p>
            <a:pPr lvl="8"/>
            <a:r>
              <a:rPr lang="en-GB" dirty="0" smtClean="0"/>
              <a:t>Introduce </a:t>
            </a:r>
            <a:r>
              <a:rPr lang="en-GB" dirty="0"/>
              <a:t>XML based file format for </a:t>
            </a:r>
            <a:r>
              <a:rPr lang="en-GB" dirty="0" smtClean="0"/>
              <a:t>export/import</a:t>
            </a:r>
          </a:p>
          <a:p>
            <a:pPr lvl="8"/>
            <a:r>
              <a:rPr lang="en-GB" dirty="0" smtClean="0"/>
              <a:t>XML is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asier to validate and integrate with external tools than current ASCII files</a:t>
            </a:r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9" name="Oval 9"/>
          <p:cNvSpPr>
            <a:spLocks noChangeArrowheads="1"/>
          </p:cNvSpPr>
          <p:nvPr/>
        </p:nvSpPr>
        <p:spPr bwMode="auto">
          <a:xfrm>
            <a:off x="1323983" y="3436787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Ctrl</a:t>
            </a:r>
          </a:p>
        </p:txBody>
      </p:sp>
      <p:sp>
        <p:nvSpPr>
          <p:cNvPr id="71" name="Oval 11"/>
          <p:cNvSpPr>
            <a:spLocks noChangeArrowheads="1"/>
          </p:cNvSpPr>
          <p:nvPr/>
        </p:nvSpPr>
        <p:spPr bwMode="auto">
          <a:xfrm>
            <a:off x="3360157" y="3439344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API</a:t>
            </a:r>
          </a:p>
        </p:txBody>
      </p:sp>
      <p:sp>
        <p:nvSpPr>
          <p:cNvPr id="73" name="Oval 13"/>
          <p:cNvSpPr>
            <a:spLocks noChangeArrowheads="1"/>
          </p:cNvSpPr>
          <p:nvPr/>
        </p:nvSpPr>
        <p:spPr bwMode="auto">
          <a:xfrm>
            <a:off x="2297075" y="4349905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EV</a:t>
            </a:r>
          </a:p>
        </p:txBody>
      </p:sp>
      <p:sp>
        <p:nvSpPr>
          <p:cNvPr id="77" name="Oval 17"/>
          <p:cNvSpPr>
            <a:spLocks noChangeArrowheads="1"/>
          </p:cNvSpPr>
          <p:nvPr/>
        </p:nvSpPr>
        <p:spPr bwMode="auto">
          <a:xfrm>
            <a:off x="3233179" y="5322265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b="1" dirty="0">
                <a:solidFill>
                  <a:schemeClr val="bg2"/>
                </a:solidFill>
              </a:rPr>
              <a:t>D</a:t>
            </a:r>
          </a:p>
        </p:txBody>
      </p:sp>
      <p:sp>
        <p:nvSpPr>
          <p:cNvPr id="81" name="Line 21"/>
          <p:cNvSpPr>
            <a:spLocks noChangeShapeType="1"/>
          </p:cNvSpPr>
          <p:nvPr/>
        </p:nvSpPr>
        <p:spPr bwMode="auto">
          <a:xfrm>
            <a:off x="2531012" y="3181259"/>
            <a:ext cx="1860" cy="1139513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82" name="Line 22"/>
          <p:cNvSpPr>
            <a:spLocks noChangeShapeType="1"/>
          </p:cNvSpPr>
          <p:nvPr/>
        </p:nvSpPr>
        <p:spPr bwMode="auto">
          <a:xfrm flipH="1" flipV="1">
            <a:off x="1798708" y="3170743"/>
            <a:ext cx="732304" cy="1155891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83" name="Oval 23"/>
          <p:cNvSpPr>
            <a:spLocks noChangeArrowheads="1"/>
          </p:cNvSpPr>
          <p:nvPr/>
        </p:nvSpPr>
        <p:spPr bwMode="auto">
          <a:xfrm>
            <a:off x="1461497" y="2711252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UIM</a:t>
            </a:r>
          </a:p>
        </p:txBody>
      </p:sp>
      <p:sp>
        <p:nvSpPr>
          <p:cNvPr id="87" name="Line 27"/>
          <p:cNvSpPr>
            <a:spLocks noChangeShapeType="1"/>
          </p:cNvSpPr>
          <p:nvPr/>
        </p:nvSpPr>
        <p:spPr bwMode="auto">
          <a:xfrm flipV="1">
            <a:off x="2535706" y="3196382"/>
            <a:ext cx="699411" cy="1124390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0" name="Line 30"/>
          <p:cNvSpPr>
            <a:spLocks noChangeShapeType="1"/>
          </p:cNvSpPr>
          <p:nvPr/>
        </p:nvSpPr>
        <p:spPr bwMode="auto">
          <a:xfrm flipH="1" flipV="1">
            <a:off x="1732621" y="3862573"/>
            <a:ext cx="810717" cy="474184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1" name="Line 31"/>
          <p:cNvSpPr>
            <a:spLocks noChangeShapeType="1"/>
          </p:cNvSpPr>
          <p:nvPr/>
        </p:nvSpPr>
        <p:spPr bwMode="auto">
          <a:xfrm flipV="1">
            <a:off x="2538543" y="3833440"/>
            <a:ext cx="910660" cy="500480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2" name="Line 32"/>
          <p:cNvSpPr>
            <a:spLocks noChangeShapeType="1"/>
          </p:cNvSpPr>
          <p:nvPr/>
        </p:nvSpPr>
        <p:spPr bwMode="auto">
          <a:xfrm>
            <a:off x="2567876" y="4848889"/>
            <a:ext cx="817166" cy="552003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3" name="Line 33"/>
          <p:cNvSpPr>
            <a:spLocks noChangeShapeType="1"/>
          </p:cNvSpPr>
          <p:nvPr/>
        </p:nvSpPr>
        <p:spPr bwMode="auto">
          <a:xfrm flipH="1">
            <a:off x="1737974" y="4841141"/>
            <a:ext cx="807753" cy="497716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4" name="Line 34"/>
          <p:cNvSpPr>
            <a:spLocks noChangeShapeType="1"/>
          </p:cNvSpPr>
          <p:nvPr/>
        </p:nvSpPr>
        <p:spPr bwMode="auto">
          <a:xfrm>
            <a:off x="2545728" y="4849064"/>
            <a:ext cx="0" cy="473201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5" name="Oval 35"/>
          <p:cNvSpPr>
            <a:spLocks noChangeArrowheads="1"/>
          </p:cNvSpPr>
          <p:nvPr/>
        </p:nvSpPr>
        <p:spPr bwMode="auto">
          <a:xfrm>
            <a:off x="1216955" y="4347525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DM</a:t>
            </a:r>
          </a:p>
        </p:txBody>
      </p:sp>
      <p:sp>
        <p:nvSpPr>
          <p:cNvPr id="97" name="Line 37"/>
          <p:cNvSpPr>
            <a:spLocks noChangeShapeType="1"/>
          </p:cNvSpPr>
          <p:nvPr/>
        </p:nvSpPr>
        <p:spPr bwMode="auto">
          <a:xfrm flipH="1">
            <a:off x="1703470" y="4606910"/>
            <a:ext cx="575702" cy="0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8" name="Oval 11"/>
          <p:cNvSpPr>
            <a:spLocks noChangeArrowheads="1"/>
          </p:cNvSpPr>
          <p:nvPr/>
        </p:nvSpPr>
        <p:spPr bwMode="auto">
          <a:xfrm>
            <a:off x="3449203" y="4358141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400" b="1" dirty="0" smtClean="0">
                <a:solidFill>
                  <a:schemeClr val="bg2"/>
                </a:solidFill>
              </a:rPr>
              <a:t>DIST</a:t>
            </a:r>
            <a:endParaRPr lang="en-US" sz="1400" b="1" dirty="0">
              <a:solidFill>
                <a:schemeClr val="bg2"/>
              </a:solidFill>
            </a:endParaRPr>
          </a:p>
        </p:txBody>
      </p:sp>
      <p:sp>
        <p:nvSpPr>
          <p:cNvPr id="100" name="Line 31"/>
          <p:cNvSpPr>
            <a:spLocks noChangeShapeType="1"/>
          </p:cNvSpPr>
          <p:nvPr/>
        </p:nvSpPr>
        <p:spPr bwMode="auto">
          <a:xfrm flipV="1">
            <a:off x="2783590" y="4596511"/>
            <a:ext cx="651985" cy="17041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01" name="Oval 23"/>
          <p:cNvSpPr>
            <a:spLocks noChangeArrowheads="1"/>
          </p:cNvSpPr>
          <p:nvPr/>
        </p:nvSpPr>
        <p:spPr bwMode="auto">
          <a:xfrm>
            <a:off x="2293493" y="2713990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UIM</a:t>
            </a:r>
          </a:p>
        </p:txBody>
      </p:sp>
      <p:sp>
        <p:nvSpPr>
          <p:cNvPr id="102" name="Oval 23"/>
          <p:cNvSpPr>
            <a:spLocks noChangeArrowheads="1"/>
          </p:cNvSpPr>
          <p:nvPr/>
        </p:nvSpPr>
        <p:spPr bwMode="auto">
          <a:xfrm>
            <a:off x="3044287" y="2717345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UIM</a:t>
            </a:r>
          </a:p>
        </p:txBody>
      </p:sp>
      <p:sp>
        <p:nvSpPr>
          <p:cNvPr id="103" name="Oval 17"/>
          <p:cNvSpPr>
            <a:spLocks noChangeArrowheads="1"/>
          </p:cNvSpPr>
          <p:nvPr/>
        </p:nvSpPr>
        <p:spPr bwMode="auto">
          <a:xfrm>
            <a:off x="1403648" y="5319922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b="1" dirty="0">
                <a:solidFill>
                  <a:schemeClr val="bg2"/>
                </a:solidFill>
              </a:rPr>
              <a:t>D</a:t>
            </a:r>
          </a:p>
        </p:txBody>
      </p:sp>
      <p:sp>
        <p:nvSpPr>
          <p:cNvPr id="104" name="Oval 17"/>
          <p:cNvSpPr>
            <a:spLocks noChangeArrowheads="1"/>
          </p:cNvSpPr>
          <p:nvPr/>
        </p:nvSpPr>
        <p:spPr bwMode="auto">
          <a:xfrm>
            <a:off x="2315970" y="5322265"/>
            <a:ext cx="474725" cy="482999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r>
              <a:rPr lang="en-US" b="1" dirty="0">
                <a:solidFill>
                  <a:schemeClr val="bg2"/>
                </a:solidFill>
              </a:rPr>
              <a:t>D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79513" y="2132856"/>
            <a:ext cx="3882533" cy="4223982"/>
          </a:xfrm>
          <a:prstGeom prst="roundRect">
            <a:avLst/>
          </a:prstGeom>
          <a:noFill/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5" name="Picture 2" descr="E:\Code_Documentation\Openlab presentations\img\1195431327409717356database_base_de_donn__01r.svg_.hi_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625" y="4317044"/>
            <a:ext cx="482967" cy="478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" descr="E:\Code_Documentation\Openlab presentations\img\1195431327409717356database_base_de_donn__01r.svg_.hi_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615" y="4392883"/>
            <a:ext cx="482967" cy="478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" name="Line 37"/>
          <p:cNvSpPr>
            <a:spLocks noChangeShapeType="1"/>
          </p:cNvSpPr>
          <p:nvPr/>
        </p:nvSpPr>
        <p:spPr bwMode="auto">
          <a:xfrm flipH="1">
            <a:off x="899591" y="4587894"/>
            <a:ext cx="317363" cy="0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pic>
        <p:nvPicPr>
          <p:cNvPr id="108" name="Picture 3" descr="E:\Code_Documentation\Openlab presentations\img\12065695931696523378felipecaparelli_Gears_1.svg.hi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87" y="3434051"/>
            <a:ext cx="560555" cy="485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5" descr="E:\Code_Documentation\Openlab presentations\img\karderio_computer_scree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432" y="2711252"/>
            <a:ext cx="647076" cy="482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7" descr="C:\Siemens\Automation\WinCC_OA\3.11\pictures\pvss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8600" y="2285506"/>
            <a:ext cx="981341" cy="246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38160" y="2219936"/>
            <a:ext cx="277796" cy="37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" name="Oval 17"/>
          <p:cNvSpPr>
            <a:spLocks noChangeArrowheads="1"/>
          </p:cNvSpPr>
          <p:nvPr/>
        </p:nvSpPr>
        <p:spPr bwMode="auto">
          <a:xfrm>
            <a:off x="395780" y="5234224"/>
            <a:ext cx="861846" cy="588440"/>
          </a:xfrm>
          <a:prstGeom prst="ellipse">
            <a:avLst/>
          </a:prstGeom>
          <a:gradFill rotWithShape="1">
            <a:gsLst>
              <a:gs pos="0">
                <a:srgbClr val="16495F"/>
              </a:gs>
              <a:gs pos="100000">
                <a:srgbClr val="113748"/>
              </a:gs>
            </a:gsLst>
            <a:path path="shape">
              <a:fillToRect l="50000" t="50000" r="50000" b="50000"/>
            </a:path>
          </a:gradFill>
          <a:ln w="19050" algn="ctr">
            <a:solidFill>
              <a:srgbClr val="164960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400" b="1" dirty="0" smtClean="0">
                <a:solidFill>
                  <a:schemeClr val="bg2"/>
                </a:solidFill>
              </a:rPr>
              <a:t>ASCII</a:t>
            </a:r>
          </a:p>
          <a:p>
            <a:pPr algn="ctr"/>
            <a:r>
              <a:rPr lang="en-US" sz="1400" b="1" dirty="0" smtClean="0">
                <a:solidFill>
                  <a:schemeClr val="bg2"/>
                </a:solidFill>
              </a:rPr>
              <a:t>Manger</a:t>
            </a:r>
            <a:endParaRPr lang="en-US" sz="1400" b="1" dirty="0">
              <a:solidFill>
                <a:schemeClr val="bg2"/>
              </a:solidFill>
            </a:endParaRPr>
          </a:p>
        </p:txBody>
      </p:sp>
      <p:pic>
        <p:nvPicPr>
          <p:cNvPr id="113" name="Picture 2" descr="E:\Code_Documentation\Openlab presentations\img\plc icon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5970189"/>
            <a:ext cx="519042" cy="27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3" descr="E:\Code_Documentation\Openlab presentations\img\SC230N4-DVP7042AE-968001400720130401115500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2501" y="5991226"/>
            <a:ext cx="461662" cy="315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4" descr="E:\Code_Documentation\Openlab presentations\img\1030_L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4062" y="5972338"/>
            <a:ext cx="433896" cy="284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6" name="Line 34"/>
          <p:cNvSpPr>
            <a:spLocks noChangeShapeType="1"/>
          </p:cNvSpPr>
          <p:nvPr/>
        </p:nvSpPr>
        <p:spPr bwMode="auto">
          <a:xfrm>
            <a:off x="1641010" y="5802921"/>
            <a:ext cx="0" cy="167268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17" name="Line 34"/>
          <p:cNvSpPr>
            <a:spLocks noChangeShapeType="1"/>
          </p:cNvSpPr>
          <p:nvPr/>
        </p:nvSpPr>
        <p:spPr bwMode="auto">
          <a:xfrm>
            <a:off x="2558135" y="5802921"/>
            <a:ext cx="0" cy="167268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18" name="Line 34"/>
          <p:cNvSpPr>
            <a:spLocks noChangeShapeType="1"/>
          </p:cNvSpPr>
          <p:nvPr/>
        </p:nvSpPr>
        <p:spPr bwMode="auto">
          <a:xfrm>
            <a:off x="3491880" y="5802921"/>
            <a:ext cx="0" cy="167268"/>
          </a:xfrm>
          <a:prstGeom prst="line">
            <a:avLst/>
          </a:prstGeom>
          <a:noFill/>
          <a:ln w="19050">
            <a:solidFill>
              <a:srgbClr val="164960"/>
            </a:solidFill>
            <a:round/>
            <a:headEnd type="none" w="sm" len="sm"/>
            <a:tailEnd type="none" w="sm" len="sm"/>
          </a:ln>
        </p:spPr>
        <p:txBody>
          <a:bodyPr wrap="none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9373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ASCII Manager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4343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115616" y="1268760"/>
            <a:ext cx="7571184" cy="5184576"/>
          </a:xfrm>
        </p:spPr>
        <p:txBody>
          <a:bodyPr>
            <a:normAutofit/>
          </a:bodyPr>
          <a:lstStyle/>
          <a:p>
            <a:r>
              <a:rPr lang="en-GB" sz="2300" dirty="0"/>
              <a:t>WinCC OA 3.X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XML schema defined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irst implementation of XML export functionality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de and schema currently under review at ETM</a:t>
            </a:r>
          </a:p>
          <a:p>
            <a:pPr lvl="1"/>
            <a:endParaRPr lang="en-GB" sz="1500" dirty="0"/>
          </a:p>
          <a:p>
            <a:r>
              <a:rPr lang="en-GB" sz="2300" dirty="0"/>
              <a:t>IOWA-based SCADA system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mpletely new platform (including data model)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New way to interact with the runtime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ERN involvement since an early stage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fluence the requirements and technology selection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ioneering the usage of the new SDK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Valuable feedback sent to ETM on SDK and </a:t>
            </a:r>
            <a:r>
              <a:rPr lang="en-GB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utorials</a:t>
            </a:r>
          </a:p>
          <a:p>
            <a:pPr lvl="1"/>
            <a:r>
              <a:rPr lang="en-GB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totype available</a:t>
            </a:r>
            <a:endParaRPr lang="en-GB" sz="18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211" y="3268897"/>
            <a:ext cx="1114165" cy="461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3838804"/>
            <a:ext cx="1713450" cy="301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7111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RDB Archiver for WinCC OA 3.11</a:t>
            </a:r>
            <a:br>
              <a:rPr lang="en-GB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Performance, </a:t>
            </a:r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robustness </a:t>
            </a:r>
            <a:r>
              <a:rPr lang="en-GB" dirty="0">
                <a:solidFill>
                  <a:schemeClr val="accent1">
                    <a:lumMod val="75000"/>
                  </a:schemeClr>
                </a:solidFill>
              </a:rPr>
              <a:t>and stability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4343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2699792" y="1417637"/>
            <a:ext cx="5987008" cy="4866705"/>
          </a:xfrm>
        </p:spPr>
        <p:txBody>
          <a:bodyPr>
            <a:normAutofit lnSpcReduction="10000"/>
          </a:bodyPr>
          <a:lstStyle/>
          <a:p>
            <a:r>
              <a:rPr lang="en-GB" sz="2000" dirty="0" smtClean="0"/>
              <a:t>Successful </a:t>
            </a:r>
            <a:r>
              <a:rPr lang="en-GB" sz="2000" dirty="0"/>
              <a:t>collaboration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mprovements implemented and tested at CERN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de transferred to ETM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New functionality made available to all ETM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ustomers</a:t>
            </a:r>
          </a:p>
          <a:p>
            <a:pPr lvl="1"/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GB" sz="2000" dirty="0"/>
              <a:t>Success story: migration to Oracle Archiver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200 LHC-related applications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quired to run the LHC at 13 </a:t>
            </a:r>
            <a:r>
              <a:rPr lang="en-GB" sz="1600" dirty="0" err="1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eV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(QPS)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200 000 values/s steady state,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10</a:t>
            </a:r>
            <a:r>
              <a:rPr lang="en-GB" sz="1600" baseline="300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6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values/s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eak</a:t>
            </a:r>
          </a:p>
          <a:p>
            <a:pPr lvl="1"/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GB" sz="2000" dirty="0"/>
              <a:t>Essential also for CERN experiments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Oracle archiver used since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2007</a:t>
            </a:r>
          </a:p>
          <a:p>
            <a:pPr lvl="1"/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GB" sz="2000" dirty="0"/>
              <a:t>Unified archiving technology CERN-wide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~500 CERN production systems and ~10 databases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eployed on time for the LHC Run II</a:t>
            </a:r>
          </a:p>
          <a:p>
            <a:endParaRPr lang="en-US" sz="23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3229" y="4246363"/>
            <a:ext cx="978537" cy="943941"/>
          </a:xfrm>
          <a:prstGeom prst="rect">
            <a:avLst/>
          </a:prstGeom>
          <a:noFill/>
          <a:ln w="41275">
            <a:noFill/>
            <a:miter lim="800000"/>
            <a:headEnd/>
            <a:tailEnd/>
          </a:ln>
        </p:spPr>
      </p:pic>
      <p:sp>
        <p:nvSpPr>
          <p:cNvPr id="12" name="Shape 11"/>
          <p:cNvSpPr/>
          <p:nvPr/>
        </p:nvSpPr>
        <p:spPr>
          <a:xfrm rot="18546769">
            <a:off x="-13328" y="2783889"/>
            <a:ext cx="572593" cy="407216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6">
              <a:lumMod val="60000"/>
              <a:lumOff val="40000"/>
              <a:alpha val="56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3" name="Group 12"/>
          <p:cNvGrpSpPr/>
          <p:nvPr/>
        </p:nvGrpSpPr>
        <p:grpSpPr>
          <a:xfrm>
            <a:off x="403801" y="3239007"/>
            <a:ext cx="839402" cy="895664"/>
            <a:chOff x="2407260" y="819898"/>
            <a:chExt cx="1135927" cy="1339999"/>
          </a:xfrm>
        </p:grpSpPr>
        <p:grpSp>
          <p:nvGrpSpPr>
            <p:cNvPr id="14" name="Group 13"/>
            <p:cNvGrpSpPr/>
            <p:nvPr/>
          </p:nvGrpSpPr>
          <p:grpSpPr>
            <a:xfrm>
              <a:off x="2407260" y="980727"/>
              <a:ext cx="928584" cy="1179170"/>
              <a:chOff x="2665296" y="863472"/>
              <a:chExt cx="928584" cy="1179170"/>
            </a:xfrm>
          </p:grpSpPr>
          <p:pic>
            <p:nvPicPr>
              <p:cNvPr id="18" name="Picture 3" descr="E:\Code_Documentation\Openlab presentations\img\oracle-logo.jpg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5296" y="1868015"/>
                <a:ext cx="845688" cy="1746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4" descr="http://icons.iconarchive.com/icons/gakuseisean/ivista-2/128/Misc-Web-Database-icon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9801" y="863472"/>
                <a:ext cx="924079" cy="9240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15" name="Group 14"/>
            <p:cNvGrpSpPr/>
            <p:nvPr/>
          </p:nvGrpSpPr>
          <p:grpSpPr>
            <a:xfrm>
              <a:off x="3245859" y="819898"/>
              <a:ext cx="297328" cy="331607"/>
              <a:chOff x="5025190" y="3032916"/>
              <a:chExt cx="312977" cy="349059"/>
            </a:xfrm>
            <a:solidFill>
              <a:schemeClr val="tx2"/>
            </a:solidFill>
          </p:grpSpPr>
          <p:sp>
            <p:nvSpPr>
              <p:cNvPr id="16" name="Circular Arrow 15"/>
              <p:cNvSpPr/>
              <p:nvPr/>
            </p:nvSpPr>
            <p:spPr>
              <a:xfrm>
                <a:off x="5025190" y="3032916"/>
                <a:ext cx="312852" cy="312850"/>
              </a:xfrm>
              <a:prstGeom prst="circularArrow">
                <a:avLst/>
              </a:prstGeom>
              <a:grpFill/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17" name="Circular Arrow 16"/>
              <p:cNvSpPr/>
              <p:nvPr/>
            </p:nvSpPr>
            <p:spPr>
              <a:xfrm rot="10800000">
                <a:off x="5025316" y="3069124"/>
                <a:ext cx="312851" cy="312851"/>
              </a:xfrm>
              <a:prstGeom prst="circularArrow">
                <a:avLst/>
              </a:prstGeom>
              <a:grpFill/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20" name="Shape 19"/>
          <p:cNvSpPr/>
          <p:nvPr/>
        </p:nvSpPr>
        <p:spPr>
          <a:xfrm rot="18415908">
            <a:off x="-8702" y="3764101"/>
            <a:ext cx="563339" cy="440237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6">
              <a:lumMod val="60000"/>
              <a:lumOff val="40000"/>
              <a:alpha val="56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24" name="Group 23"/>
          <p:cNvGrpSpPr/>
          <p:nvPr/>
        </p:nvGrpSpPr>
        <p:grpSpPr>
          <a:xfrm>
            <a:off x="1095522" y="4702673"/>
            <a:ext cx="1100214" cy="598535"/>
            <a:chOff x="2051720" y="3244917"/>
            <a:chExt cx="1100214" cy="544123"/>
          </a:xfrm>
        </p:grpSpPr>
        <p:pic>
          <p:nvPicPr>
            <p:cNvPr id="25" name="Picture 7"/>
            <p:cNvPicPr>
              <a:picLocks noChangeAspect="1" noChangeArrowheads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1894"/>
            <a:stretch/>
          </p:blipFill>
          <p:spPr bwMode="auto">
            <a:xfrm>
              <a:off x="2051720" y="3554522"/>
              <a:ext cx="564313" cy="234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7" descr="C:\Siemens\Automation\WinCC_OA\3.11\pictures\pvss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4114" y="3283385"/>
              <a:ext cx="817820" cy="2385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" descr="C:\Siemens\Automation\WinCC_OA\3.11\pictures\firmLogo.gif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5056" y="3244917"/>
              <a:ext cx="332984" cy="3329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8"/>
          <p:cNvGrpSpPr/>
          <p:nvPr/>
        </p:nvGrpSpPr>
        <p:grpSpPr>
          <a:xfrm>
            <a:off x="372286" y="2264127"/>
            <a:ext cx="686184" cy="788165"/>
            <a:chOff x="2665296" y="863472"/>
            <a:chExt cx="928584" cy="1179170"/>
          </a:xfrm>
        </p:grpSpPr>
        <p:pic>
          <p:nvPicPr>
            <p:cNvPr id="33" name="Picture 3" descr="E:\Code_Documentation\Openlab presentations\img\oracle-logo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5296" y="1868015"/>
              <a:ext cx="845688" cy="1746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4" descr="http://icons.iconarchive.com/icons/gakuseisean/ivista-2/128/Misc-Web-Database-icon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9801" y="863472"/>
              <a:ext cx="924079" cy="9240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6" name="Rectangle 35"/>
          <p:cNvSpPr/>
          <p:nvPr/>
        </p:nvSpPr>
        <p:spPr>
          <a:xfrm>
            <a:off x="871265" y="2457609"/>
            <a:ext cx="17643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LHC Logging</a:t>
            </a:r>
            <a:endParaRPr lang="en-US" sz="1600" dirty="0"/>
          </a:p>
        </p:txBody>
      </p:sp>
      <p:sp>
        <p:nvSpPr>
          <p:cNvPr id="37" name="Rectangle 36"/>
          <p:cNvSpPr/>
          <p:nvPr/>
        </p:nvSpPr>
        <p:spPr>
          <a:xfrm>
            <a:off x="504624" y="3504071"/>
            <a:ext cx="17643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4F81BD">
                    <a:lumMod val="75000"/>
                  </a:srgbClr>
                </a:solidFill>
              </a:rPr>
              <a:t>RDB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5344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541331" y="1057823"/>
            <a:ext cx="7207133" cy="194421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84343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1541330" y="3140968"/>
            <a:ext cx="7207133" cy="343140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2400" dirty="0" smtClean="0"/>
              <a:t>R&amp;D</a:t>
            </a:r>
            <a:r>
              <a:rPr lang="en-US" sz="2400" dirty="0"/>
              <a:t>: Big data and NoSQL</a:t>
            </a:r>
          </a:p>
          <a:p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search on technology for future archiving system</a:t>
            </a:r>
          </a:p>
          <a:p>
            <a:pPr lvl="1"/>
            <a:r>
              <a:rPr lang="en-US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epare future run of LHC: throughput/size increase by </a:t>
            </a:r>
            <a:r>
              <a:rPr lang="en-US" sz="190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 </a:t>
            </a:r>
            <a:r>
              <a:rPr lang="en-US" sz="190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10x factor</a:t>
            </a:r>
            <a:endParaRPr lang="en-US" sz="22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Hadoop</a:t>
            </a:r>
          </a:p>
          <a:p>
            <a:pPr lvl="1"/>
            <a:r>
              <a:rPr lang="en-US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Workshop to transfer knowledge to ETM</a:t>
            </a:r>
          </a:p>
          <a:p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itial investigation of other technologies </a:t>
            </a:r>
          </a:p>
          <a:p>
            <a:pPr lvl="1"/>
            <a:r>
              <a:rPr lang="en-US" sz="1900" dirty="0" err="1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lasticsearch</a:t>
            </a:r>
            <a:r>
              <a:rPr lang="en-US" sz="19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, IMPALA</a:t>
            </a:r>
          </a:p>
          <a:p>
            <a:r>
              <a:rPr lang="en-US" sz="22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ynergy with Data Analytics</a:t>
            </a:r>
          </a:p>
          <a:p>
            <a:pPr lvl="1"/>
            <a:r>
              <a:rPr lang="en-US" sz="19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rchiving subsystem is essential	</a:t>
            </a:r>
          </a:p>
          <a:p>
            <a:endParaRPr lang="en-US" sz="23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42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12" name="Content Placeholder 6"/>
          <p:cNvSpPr txBox="1">
            <a:spLocks/>
          </p:cNvSpPr>
          <p:nvPr/>
        </p:nvSpPr>
        <p:spPr>
          <a:xfrm>
            <a:off x="1541330" y="1057823"/>
            <a:ext cx="7207133" cy="20111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lang="en-US" sz="3200" b="1" kern="12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200" dirty="0"/>
              <a:t>Reporting Manager</a:t>
            </a:r>
          </a:p>
          <a:p>
            <a:r>
              <a:rPr lang="en-GB" sz="2000" dirty="0" smtClean="0"/>
              <a:t>Significant </a:t>
            </a:r>
            <a:r>
              <a:rPr lang="en-GB" sz="2000" dirty="0"/>
              <a:t>performance </a:t>
            </a:r>
            <a:r>
              <a:rPr lang="en-GB" sz="2000" dirty="0" smtClean="0"/>
              <a:t>improvements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arallel request processing</a:t>
            </a:r>
          </a:p>
          <a:p>
            <a:pPr lvl="1"/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design of architecture for Oracle queries</a:t>
            </a:r>
          </a:p>
          <a:p>
            <a:r>
              <a:rPr lang="en-GB" sz="2000" dirty="0" smtClean="0"/>
              <a:t>Already available </a:t>
            </a:r>
            <a:r>
              <a:rPr lang="en-GB" sz="2000" dirty="0"/>
              <a:t>in </a:t>
            </a:r>
            <a:r>
              <a:rPr lang="en-GB" sz="2000" dirty="0" smtClean="0"/>
              <a:t>WinCC </a:t>
            </a:r>
            <a:r>
              <a:rPr lang="en-GB" sz="2000" smtClean="0"/>
              <a:t>OA </a:t>
            </a:r>
            <a:r>
              <a:rPr lang="en-GB" sz="2000" smtClean="0"/>
              <a:t>3.13</a:t>
            </a:r>
            <a:endParaRPr lang="en-GB" sz="200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628998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More on Data Processing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91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960440" y="1156090"/>
            <a:ext cx="4758861" cy="20882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3960440" y="1196752"/>
            <a:ext cx="4788024" cy="2025170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dirty="0">
                <a:solidFill>
                  <a:schemeClr val="accent1">
                    <a:lumMod val="75000"/>
                  </a:schemeClr>
                </a:solidFill>
              </a:rPr>
              <a:t>Increased System Reliability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Minimized forced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outages</a:t>
            </a:r>
          </a:p>
          <a:p>
            <a:r>
              <a:rPr lang="en-GB" sz="2000" dirty="0">
                <a:solidFill>
                  <a:schemeClr val="accent1">
                    <a:lumMod val="75000"/>
                  </a:schemeClr>
                </a:solidFill>
              </a:rPr>
              <a:t>Complete data </a:t>
            </a: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</a:rPr>
              <a:t>analysis </a:t>
            </a:r>
            <a:endParaRPr lang="en-GB" sz="2000" dirty="0">
              <a:solidFill>
                <a:schemeClr val="accent1">
                  <a:lumMod val="75000"/>
                </a:schemeClr>
              </a:solidFill>
            </a:endParaRP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Reduced service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effort: weeks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sym typeface="Wingdings" pitchFamily="2" charset="2"/>
              </a:rPr>
              <a:t>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hours</a:t>
            </a:r>
            <a:endParaRPr lang="en-GB" sz="20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</a:rPr>
              <a:t>24/7 Expert Knowledge Availability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One central knowledge base</a:t>
            </a:r>
          </a:p>
        </p:txBody>
      </p:sp>
      <p:pic>
        <p:nvPicPr>
          <p:cNvPr id="2061" name="Picture 13" descr="http://www.lucenaresearch.com/wp-content/uploads/2012/06/shutterstock_5536803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1235" y="3323333"/>
            <a:ext cx="2449080" cy="162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http://public.web.cern.ch/public/features/120411_CCC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544" y="3323333"/>
            <a:ext cx="2449079" cy="162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http://www.flextronicsblog.com/wp-content/uploads/2013/04/Designing-for-Manufacturability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490" y="3298937"/>
            <a:ext cx="2449811" cy="1632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6" name="think-cell Slide" r:id="rId8" imgW="216" imgH="216" progId="">
                  <p:embed/>
                </p:oleObj>
              </mc:Choice>
              <mc:Fallback>
                <p:oleObj name="think-cell Slide" r:id="rId8" imgW="216" imgH="216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544" y="1156091"/>
            <a:ext cx="2906467" cy="208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Content Placeholder 2"/>
          <p:cNvSpPr txBox="1">
            <a:spLocks/>
          </p:cNvSpPr>
          <p:nvPr/>
        </p:nvSpPr>
        <p:spPr>
          <a:xfrm>
            <a:off x="899592" y="4979518"/>
            <a:ext cx="2631086" cy="161783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Operation support</a:t>
            </a:r>
          </a:p>
          <a:p>
            <a:pPr marL="180000" indent="-180000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orecast system status and </a:t>
            </a:r>
            <a:b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</a:br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ake proper actions in time</a:t>
            </a:r>
          </a:p>
          <a:p>
            <a:pPr marL="180000" indent="-180000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event possible faults and </a:t>
            </a:r>
            <a:r>
              <a:rPr lang="en-GB" sz="1400" b="0" dirty="0">
                <a:solidFill>
                  <a:schemeClr val="accent1">
                    <a:lumMod val="75000"/>
                  </a:schemeClr>
                </a:solidFill>
              </a:rPr>
              <a:t>system </a:t>
            </a:r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owntime</a:t>
            </a:r>
          </a:p>
          <a:p>
            <a:pPr marL="180000" indent="-180000"/>
            <a:r>
              <a:rPr lang="de-DE" sz="1400" b="0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Identify hidden </a:t>
            </a:r>
            <a:r>
              <a:rPr lang="de-DE" sz="1400" b="0" dirty="0" smtClean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patterns</a:t>
            </a:r>
            <a:endParaRPr lang="en-GB" sz="1400" b="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3517038" y="4979517"/>
            <a:ext cx="2592287" cy="147921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iagnosis support</a:t>
            </a:r>
            <a:endParaRPr lang="en-GB" sz="1600" b="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180000" indent="-180000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dentify root causes</a:t>
            </a:r>
          </a:p>
          <a:p>
            <a:pPr marL="180000" indent="-180000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More accurate analysis</a:t>
            </a:r>
          </a:p>
          <a:p>
            <a:pPr marL="180000" indent="-180000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ccelerate analysis </a:t>
            </a:r>
            <a:b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</a:br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rom weeks to hours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6181334" y="4979517"/>
            <a:ext cx="2783154" cy="154582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Engineering support</a:t>
            </a:r>
          </a:p>
          <a:p>
            <a:pPr marL="180000" indent="-180000"/>
            <a:r>
              <a:rPr lang="en-GB" sz="14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Improve operational performance</a:t>
            </a:r>
          </a:p>
          <a:p>
            <a:pPr marL="180000" indent="-180000"/>
            <a:r>
              <a:rPr lang="en-GB" sz="14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Increase reliability and efficiency by </a:t>
            </a:r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design</a:t>
            </a:r>
            <a:endParaRPr lang="en-GB" sz="1400" b="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  <a:sym typeface="Wingdings" panose="05000000000000000000" pitchFamily="2" charset="2"/>
            </a:endParaRPr>
          </a:p>
          <a:p>
            <a:pPr marL="180000" indent="-180000"/>
            <a:r>
              <a:rPr lang="en-GB" sz="1400" b="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Lead </a:t>
            </a:r>
            <a:r>
              <a:rPr lang="en-GB" sz="1400" b="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  <a:sym typeface="Wingdings" panose="05000000000000000000" pitchFamily="2" charset="2"/>
              </a:rPr>
              <a:t>control system decisions</a:t>
            </a:r>
          </a:p>
          <a:p>
            <a:pPr marL="0" indent="0">
              <a:buNone/>
            </a:pPr>
            <a:endParaRPr lang="en-GB" sz="12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403648" y="274637"/>
            <a:ext cx="7283152" cy="1143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ERN &amp; Siemens collaboration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Benefits for CERN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76243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1975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92297334"/>
              </p:ext>
            </p:extLst>
          </p:nvPr>
        </p:nvGraphicFramePr>
        <p:xfrm>
          <a:off x="1194" y="1594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0" name="think-cell Folie" r:id="rId8" imgW="216" imgH="216" progId="">
                  <p:embed/>
                </p:oleObj>
              </mc:Choice>
              <mc:Fallback>
                <p:oleObj name="think-cell Folie" r:id="rId8" imgW="216" imgH="216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4" y="1594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5182" name="Rechteck 135181" hidden="1"/>
          <p:cNvSpPr/>
          <p:nvPr>
            <p:custDataLst>
              <p:tags r:id="rId4"/>
            </p:custDataLst>
          </p:nvPr>
        </p:nvSpPr>
        <p:spPr bwMode="auto">
          <a:xfrm>
            <a:off x="2" y="0"/>
            <a:ext cx="119001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72000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AT" sz="1400" dirty="0" err="1" smtClean="0">
              <a:solidFill>
                <a:schemeClr val="tx1"/>
              </a:solidFill>
              <a:latin typeface="ＭＳ Ｐゴシック"/>
              <a:ea typeface="ＭＳ Ｐゴシック"/>
              <a:sym typeface="ＭＳ Ｐゴシック"/>
            </a:endParaRPr>
          </a:p>
        </p:txBody>
      </p:sp>
      <p:sp>
        <p:nvSpPr>
          <p:cNvPr id="138" name="Textplatzhalter 2"/>
          <p:cNvSpPr txBox="1">
            <a:spLocks/>
          </p:cNvSpPr>
          <p:nvPr/>
        </p:nvSpPr>
        <p:spPr>
          <a:xfrm>
            <a:off x="7594859" y="1744314"/>
            <a:ext cx="1297621" cy="2804538"/>
          </a:xfrm>
          <a:prstGeom prst="rect">
            <a:avLst/>
          </a:prstGeom>
          <a:ln>
            <a:solidFill>
              <a:srgbClr val="879BAA"/>
            </a:solidFill>
          </a:ln>
        </p:spPr>
        <p:txBody>
          <a:bodyPr vert="horz" wrap="square" lIns="108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en-US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388" indent="-179388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2pPr>
            <a:lvl3pPr marL="358775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3pPr>
            <a:lvl4pPr marL="538163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4pPr>
            <a:lvl5pPr marL="717550" indent="-177800" algn="l" rtl="0" eaLnBrk="0" fontAlgn="base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  <a:buChar char="•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1747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319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0891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463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Char char="•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>
              <a:spcBef>
                <a:spcPts val="0"/>
              </a:spcBef>
              <a:buClr>
                <a:srgbClr val="879BAA"/>
              </a:buClr>
              <a:buNone/>
            </a:pPr>
            <a:r>
              <a:rPr lang="en-US" b="1" kern="0" dirty="0" smtClean="0">
                <a:solidFill>
                  <a:schemeClr val="accent5"/>
                </a:solidFill>
                <a:latin typeface="Arial"/>
              </a:rPr>
              <a:t>Customer Advantage</a:t>
            </a:r>
            <a:endParaRPr lang="en-US" b="1" kern="0" dirty="0">
              <a:solidFill>
                <a:schemeClr val="accent5"/>
              </a:solidFill>
              <a:latin typeface="Arial"/>
            </a:endParaRPr>
          </a:p>
          <a:p>
            <a:pPr lvl="1">
              <a:buClr>
                <a:srgbClr val="879BAA"/>
              </a:buClr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</a:rPr>
              <a:t>Better Performance</a:t>
            </a:r>
          </a:p>
          <a:p>
            <a:pPr lvl="1">
              <a:spcBef>
                <a:spcPts val="0"/>
              </a:spcBef>
              <a:buClr>
                <a:srgbClr val="879BAA"/>
              </a:buClr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</a:rPr>
              <a:t>Lower Costs</a:t>
            </a:r>
          </a:p>
          <a:p>
            <a:pPr lvl="1">
              <a:spcBef>
                <a:spcPts val="0"/>
              </a:spcBef>
              <a:buClr>
                <a:srgbClr val="879BAA"/>
              </a:buClr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</a:rPr>
              <a:t>Saving </a:t>
            </a:r>
            <a:br>
              <a:rPr lang="en-US" sz="1200" kern="0" dirty="0" smtClean="0">
                <a:solidFill>
                  <a:srgbClr val="000000"/>
                </a:solidFill>
                <a:latin typeface="Arial"/>
              </a:rPr>
            </a:br>
            <a:r>
              <a:rPr lang="en-US" sz="1200" kern="0" dirty="0" smtClean="0">
                <a:solidFill>
                  <a:srgbClr val="000000"/>
                </a:solidFill>
                <a:latin typeface="Arial"/>
              </a:rPr>
              <a:t>Energy</a:t>
            </a:r>
            <a:endParaRPr lang="en-US" sz="1200" kern="0" dirty="0">
              <a:solidFill>
                <a:srgbClr val="000000"/>
              </a:solidFill>
              <a:latin typeface="Arial"/>
            </a:endParaRPr>
          </a:p>
          <a:p>
            <a:pPr lvl="1">
              <a:spcBef>
                <a:spcPts val="0"/>
              </a:spcBef>
              <a:buClr>
                <a:srgbClr val="879BAA"/>
              </a:buClr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</a:rPr>
              <a:t>Reduce Risks</a:t>
            </a:r>
          </a:p>
          <a:p>
            <a:pPr lvl="1">
              <a:spcBef>
                <a:spcPts val="0"/>
              </a:spcBef>
              <a:buClr>
                <a:srgbClr val="879BAA"/>
              </a:buClr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</a:rPr>
              <a:t>New Business Models</a:t>
            </a:r>
            <a:endParaRPr lang="en-US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feil nach rechts 7"/>
          <p:cNvSpPr>
            <a:spLocks noChangeArrowheads="1"/>
          </p:cNvSpPr>
          <p:nvPr/>
        </p:nvSpPr>
        <p:spPr bwMode="auto">
          <a:xfrm>
            <a:off x="1489930" y="3842523"/>
            <a:ext cx="161840" cy="312187"/>
          </a:xfrm>
          <a:prstGeom prst="chevron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108000" tIns="54000" rIns="108000" bIns="5400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1200" b="1" i="0" u="none" strike="noStrike" kern="1400" cap="none" spc="0" normalizeH="0" baseline="0" noProof="0" smtClean="0">
              <a:ln>
                <a:noFill/>
              </a:ln>
              <a:solidFill>
                <a:srgbClr val="879BAA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83" name="Zylinder 23"/>
          <p:cNvSpPr>
            <a:spLocks noChangeArrowheads="1"/>
          </p:cNvSpPr>
          <p:nvPr/>
        </p:nvSpPr>
        <p:spPr bwMode="auto">
          <a:xfrm>
            <a:off x="542133" y="3413479"/>
            <a:ext cx="885877" cy="1170260"/>
          </a:xfrm>
          <a:prstGeom prst="can">
            <a:avLst>
              <a:gd name="adj" fmla="val 14319"/>
            </a:avLst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72000" tIns="72000" rIns="72000" bIns="0" anchor="ctr"/>
          <a:lstStyle/>
          <a:p>
            <a:pPr marL="0" marR="0" lvl="0" indent="0" algn="ctr" defTabSz="91440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4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Data from Products, Systems, Sensors,</a:t>
            </a:r>
            <a:r>
              <a:rPr kumimoji="0" lang="en-US" sz="1200" u="none" strike="noStrike" kern="14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 Processes ...</a:t>
            </a:r>
            <a:endParaRPr kumimoji="0" lang="en-US" sz="1200" u="none" strike="noStrike" kern="14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87" name="Rechteck 48"/>
          <p:cNvSpPr>
            <a:spLocks/>
          </p:cNvSpPr>
          <p:nvPr/>
        </p:nvSpPr>
        <p:spPr bwMode="auto">
          <a:xfrm>
            <a:off x="1715673" y="3692609"/>
            <a:ext cx="1168931" cy="612000"/>
          </a:xfrm>
          <a:prstGeom prst="rect">
            <a:avLst/>
          </a:prstGeom>
          <a:solidFill>
            <a:srgbClr val="BECDD7"/>
          </a:solidFill>
          <a:ln w="9525" algn="ctr">
            <a:noFill/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marR="0" lvl="0" defTabSz="91440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34" charset="-128"/>
              </a:rPr>
              <a:t>Data</a:t>
            </a:r>
            <a:endParaRPr kumimoji="0" lang="en-US" sz="1200" b="1" i="0" u="none" strike="noStrike" kern="14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88" name="Text Box 34"/>
          <p:cNvSpPr txBox="1">
            <a:spLocks noChangeArrowheads="1"/>
          </p:cNvSpPr>
          <p:nvPr/>
        </p:nvSpPr>
        <p:spPr bwMode="auto">
          <a:xfrm>
            <a:off x="5140661" y="3692609"/>
            <a:ext cx="1168931" cy="6120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marR="0" lvl="0" defTabSz="91440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Business Innovation</a:t>
            </a:r>
          </a:p>
        </p:txBody>
      </p:sp>
      <p:sp>
        <p:nvSpPr>
          <p:cNvPr id="89" name="Pfeil nach rechts 51"/>
          <p:cNvSpPr>
            <a:spLocks noChangeArrowheads="1"/>
          </p:cNvSpPr>
          <p:nvPr/>
        </p:nvSpPr>
        <p:spPr bwMode="auto">
          <a:xfrm>
            <a:off x="6291266" y="3692609"/>
            <a:ext cx="1148995" cy="612000"/>
          </a:xfrm>
          <a:prstGeom prst="homePlate">
            <a:avLst>
              <a:gd name="adj" fmla="val 27487"/>
            </a:avLst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marR="0" lvl="0" defTabSz="91440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Value</a:t>
            </a:r>
            <a:b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</a:br>
            <a: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Generation</a:t>
            </a:r>
          </a:p>
        </p:txBody>
      </p:sp>
      <p:sp>
        <p:nvSpPr>
          <p:cNvPr id="90" name="Rechteck 52"/>
          <p:cNvSpPr>
            <a:spLocks noChangeArrowheads="1"/>
          </p:cNvSpPr>
          <p:nvPr/>
        </p:nvSpPr>
        <p:spPr bwMode="auto">
          <a:xfrm>
            <a:off x="2857335" y="3692609"/>
            <a:ext cx="1168931" cy="612000"/>
          </a:xfrm>
          <a:prstGeom prst="rect">
            <a:avLst/>
          </a:prstGeom>
          <a:solidFill>
            <a:schemeClr val="accent5"/>
          </a:solidFill>
          <a:ln w="9525" algn="ctr">
            <a:noFill/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marR="0" lvl="0" defTabSz="91440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Data analytics</a:t>
            </a:r>
          </a:p>
        </p:txBody>
      </p:sp>
      <p:sp>
        <p:nvSpPr>
          <p:cNvPr id="92" name="Rechteck 175"/>
          <p:cNvSpPr>
            <a:spLocks/>
          </p:cNvSpPr>
          <p:nvPr/>
        </p:nvSpPr>
        <p:spPr bwMode="auto">
          <a:xfrm>
            <a:off x="3998998" y="3692609"/>
            <a:ext cx="1168931" cy="612000"/>
          </a:xfrm>
          <a:prstGeom prst="rect">
            <a:avLst/>
          </a:prstGeom>
          <a:solidFill>
            <a:srgbClr val="BECDD7"/>
          </a:solidFill>
          <a:ln w="9525" algn="ctr">
            <a:noFill/>
            <a:miter lim="800000"/>
            <a:headEnd/>
            <a:tailEnd/>
          </a:ln>
        </p:spPr>
        <p:txBody>
          <a:bodyPr wrap="square" lIns="144000" tIns="72000" rIns="72000" bIns="72000" anchor="ctr"/>
          <a:lstStyle/>
          <a:p>
            <a:pPr marR="0" lvl="0" defTabSz="91440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200" b="1" i="0" u="none" strike="noStrike" kern="14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ＭＳ Ｐゴシック" pitchFamily="34" charset="-128"/>
              </a:rPr>
              <a:t>Business Intelligence</a:t>
            </a:r>
            <a:endParaRPr kumimoji="0" lang="en-US" sz="1200" b="1" i="0" u="none" strike="noStrike" kern="14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7301029" y="2257658"/>
            <a:ext cx="230832" cy="3046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b="1" dirty="0" smtClean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52" name="Rectangle 13"/>
          <p:cNvSpPr>
            <a:spLocks noChangeArrowheads="1"/>
          </p:cNvSpPr>
          <p:nvPr/>
        </p:nvSpPr>
        <p:spPr bwMode="auto">
          <a:xfrm>
            <a:off x="542131" y="5034939"/>
            <a:ext cx="8206583" cy="1132501"/>
          </a:xfrm>
          <a:prstGeom prst="rect">
            <a:avLst/>
          </a:prstGeom>
          <a:noFill/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wrap="none" lIns="72000" tIns="108000" rIns="72000" bIns="0" anchor="t" anchorCtr="0"/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14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53" name="TextBox 34"/>
          <p:cNvSpPr txBox="1">
            <a:spLocks/>
          </p:cNvSpPr>
          <p:nvPr/>
        </p:nvSpPr>
        <p:spPr>
          <a:xfrm>
            <a:off x="730229" y="5156933"/>
            <a:ext cx="1656000" cy="619382"/>
          </a:xfrm>
          <a:prstGeom prst="rect">
            <a:avLst/>
          </a:prstGeom>
          <a:solidFill>
            <a:srgbClr val="BECDD7"/>
          </a:solidFill>
          <a:ln>
            <a:noFill/>
          </a:ln>
        </p:spPr>
        <p:txBody>
          <a:bodyPr wrap="square" lIns="144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Domain</a:t>
            </a:r>
            <a:b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</a:b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know-how</a:t>
            </a:r>
          </a:p>
        </p:txBody>
      </p:sp>
      <p:sp>
        <p:nvSpPr>
          <p:cNvPr id="55" name="TextBox 35"/>
          <p:cNvSpPr txBox="1">
            <a:spLocks/>
          </p:cNvSpPr>
          <p:nvPr/>
        </p:nvSpPr>
        <p:spPr>
          <a:xfrm>
            <a:off x="2788357" y="5156933"/>
            <a:ext cx="1656000" cy="619382"/>
          </a:xfrm>
          <a:prstGeom prst="rect">
            <a:avLst/>
          </a:prstGeom>
          <a:solidFill>
            <a:srgbClr val="BECDD7"/>
          </a:solidFill>
          <a:ln>
            <a:noFill/>
          </a:ln>
        </p:spPr>
        <p:txBody>
          <a:bodyPr wrap="square" lIns="144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Device</a:t>
            </a:r>
            <a:b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</a:b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know-how</a:t>
            </a:r>
          </a:p>
        </p:txBody>
      </p:sp>
      <p:sp>
        <p:nvSpPr>
          <p:cNvPr id="56" name="TextBox 36"/>
          <p:cNvSpPr txBox="1">
            <a:spLocks/>
          </p:cNvSpPr>
          <p:nvPr/>
        </p:nvSpPr>
        <p:spPr>
          <a:xfrm>
            <a:off x="6904613" y="5156933"/>
            <a:ext cx="1656000" cy="6193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wrap="square" lIns="144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Smart</a:t>
            </a:r>
          </a:p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Data </a:t>
            </a:r>
          </a:p>
        </p:txBody>
      </p:sp>
      <p:sp>
        <p:nvSpPr>
          <p:cNvPr id="57" name="TextBox 37"/>
          <p:cNvSpPr txBox="1">
            <a:spLocks/>
          </p:cNvSpPr>
          <p:nvPr/>
        </p:nvSpPr>
        <p:spPr>
          <a:xfrm>
            <a:off x="4846485" y="5156933"/>
            <a:ext cx="1656000" cy="619382"/>
          </a:xfrm>
          <a:prstGeom prst="rect">
            <a:avLst/>
          </a:prstGeom>
          <a:solidFill>
            <a:srgbClr val="BECDD7"/>
          </a:solidFill>
          <a:ln>
            <a:noFill/>
          </a:ln>
        </p:spPr>
        <p:txBody>
          <a:bodyPr wrap="square" lIns="144000" tIns="72000" rIns="72000" bIns="72000" rtlCol="0" anchor="ctr">
            <a:noAutofit/>
          </a:bodyPr>
          <a:lstStyle/>
          <a:p>
            <a:pPr marL="0" marR="0" lvl="0" indent="0" defTabSz="914400" eaLnBrk="1" fontAlgn="auto" latinLnBrk="0" hangingPunct="1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Analytics</a:t>
            </a:r>
            <a:b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</a:br>
            <a:r>
              <a:rPr kumimoji="0" lang="en-US" sz="1200" b="1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know-how</a:t>
            </a:r>
          </a:p>
        </p:txBody>
      </p:sp>
      <p:cxnSp>
        <p:nvCxnSpPr>
          <p:cNvPr id="65" name="Gerade Verbindung 64"/>
          <p:cNvCxnSpPr/>
          <p:nvPr/>
        </p:nvCxnSpPr>
        <p:spPr bwMode="auto">
          <a:xfrm flipH="1">
            <a:off x="524027" y="3028307"/>
            <a:ext cx="6949927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Rechteck 65"/>
          <p:cNvSpPr/>
          <p:nvPr/>
        </p:nvSpPr>
        <p:spPr bwMode="auto">
          <a:xfrm flipH="1">
            <a:off x="718842" y="2988771"/>
            <a:ext cx="532457" cy="938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grpSp>
        <p:nvGrpSpPr>
          <p:cNvPr id="5" name="Gruppieren 66"/>
          <p:cNvGrpSpPr/>
          <p:nvPr/>
        </p:nvGrpSpPr>
        <p:grpSpPr>
          <a:xfrm flipH="1">
            <a:off x="818532" y="2927351"/>
            <a:ext cx="333076" cy="316226"/>
            <a:chOff x="3210631" y="3009950"/>
            <a:chExt cx="573171" cy="566645"/>
          </a:xfrm>
        </p:grpSpPr>
        <p:sp>
          <p:nvSpPr>
            <p:cNvPr id="68" name="Eingekerbter Richtungspfeil 67"/>
            <p:cNvSpPr/>
            <p:nvPr/>
          </p:nvSpPr>
          <p:spPr bwMode="auto">
            <a:xfrm rot="5400000">
              <a:off x="3330575" y="2890006"/>
              <a:ext cx="333284" cy="573171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Eingekerbter Richtungspfeil 68"/>
            <p:cNvSpPr/>
            <p:nvPr/>
          </p:nvSpPr>
          <p:spPr bwMode="auto">
            <a:xfrm rot="5400000">
              <a:off x="3330575" y="3123367"/>
              <a:ext cx="333284" cy="573171"/>
            </a:xfrm>
            <a:prstGeom prst="chevron">
              <a:avLst/>
            </a:prstGeom>
            <a:solidFill>
              <a:schemeClr val="accent5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70" name="Line 61"/>
          <p:cNvSpPr>
            <a:spLocks noChangeShapeType="1"/>
          </p:cNvSpPr>
          <p:nvPr/>
        </p:nvSpPr>
        <p:spPr bwMode="auto">
          <a:xfrm>
            <a:off x="730229" y="5974113"/>
            <a:ext cx="7830384" cy="0"/>
          </a:xfrm>
          <a:prstGeom prst="line">
            <a:avLst/>
          </a:prstGeom>
          <a:noFill/>
          <a:ln w="9525" cmpd="sng">
            <a:solidFill>
              <a:schemeClr val="accent5"/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400" cap="none" spc="0" normalizeH="0" baseline="0" noProof="0" smtClean="0">
              <a:ln>
                <a:noFill/>
              </a:ln>
              <a:solidFill>
                <a:srgbClr val="879BAA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097" y="5827193"/>
            <a:ext cx="1292648" cy="293840"/>
          </a:xfrm>
          <a:prstGeom prst="rect">
            <a:avLst/>
          </a:prstGeom>
        </p:spPr>
      </p:pic>
      <p:sp>
        <p:nvSpPr>
          <p:cNvPr id="7" name="Plus 6"/>
          <p:cNvSpPr/>
          <p:nvPr/>
        </p:nvSpPr>
        <p:spPr bwMode="auto">
          <a:xfrm>
            <a:off x="2442513" y="5321844"/>
            <a:ext cx="289560" cy="289560"/>
          </a:xfrm>
          <a:prstGeom prst="mathPlus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71" name="Plus 70"/>
          <p:cNvSpPr/>
          <p:nvPr/>
        </p:nvSpPr>
        <p:spPr bwMode="auto">
          <a:xfrm>
            <a:off x="4500641" y="5321844"/>
            <a:ext cx="289560" cy="289560"/>
          </a:xfrm>
          <a:prstGeom prst="mathPlus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72" name="Gleich 71"/>
          <p:cNvSpPr/>
          <p:nvPr/>
        </p:nvSpPr>
        <p:spPr bwMode="auto">
          <a:xfrm>
            <a:off x="6558769" y="5321844"/>
            <a:ext cx="289560" cy="289560"/>
          </a:xfrm>
          <a:prstGeom prst="mathEqual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73" name="Pfeil nach rechts 7"/>
          <p:cNvSpPr>
            <a:spLocks noChangeArrowheads="1"/>
          </p:cNvSpPr>
          <p:nvPr/>
        </p:nvSpPr>
        <p:spPr bwMode="auto">
          <a:xfrm>
            <a:off x="1592928" y="3842523"/>
            <a:ext cx="161840" cy="312187"/>
          </a:xfrm>
          <a:prstGeom prst="chevron">
            <a:avLst/>
          </a:prstGeom>
          <a:solidFill>
            <a:schemeClr val="accent5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108000" tIns="54000" rIns="108000" bIns="5400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1200" b="1" i="0" u="none" strike="noStrike" kern="1400" cap="none" spc="0" normalizeH="0" baseline="0" noProof="0" smtClean="0">
              <a:ln>
                <a:noFill/>
              </a:ln>
              <a:solidFill>
                <a:srgbClr val="879BAA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grpSp>
        <p:nvGrpSpPr>
          <p:cNvPr id="6" name="Gruppieren 9"/>
          <p:cNvGrpSpPr/>
          <p:nvPr/>
        </p:nvGrpSpPr>
        <p:grpSpPr>
          <a:xfrm>
            <a:off x="1715673" y="3410986"/>
            <a:ext cx="5551939" cy="236988"/>
            <a:chOff x="1715672" y="3344304"/>
            <a:chExt cx="5551939" cy="236988"/>
          </a:xfrm>
        </p:grpSpPr>
        <p:sp>
          <p:nvSpPr>
            <p:cNvPr id="115" name="Line 61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1715672" y="3462798"/>
              <a:ext cx="5551939" cy="0"/>
            </a:xfrm>
            <a:prstGeom prst="line">
              <a:avLst/>
            </a:prstGeom>
            <a:noFill/>
            <a:ln w="9525" cmpd="sng">
              <a:solidFill>
                <a:schemeClr val="accent5"/>
              </a:solidFill>
              <a:round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400" cap="none" spc="0" normalizeH="0" baseline="0" noProof="0" smtClean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00" name="AutoShape 32"/>
            <p:cNvSpPr>
              <a:spLocks noChangeArrowheads="1"/>
            </p:cNvSpPr>
            <p:nvPr/>
          </p:nvSpPr>
          <p:spPr bwMode="gray">
            <a:xfrm>
              <a:off x="3250585" y="3344304"/>
              <a:ext cx="2287019" cy="236988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lIns="72000" tIns="0" rIns="7200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1" i="0" u="none" strike="noStrike" kern="1400" cap="none" spc="0" normalizeH="0" baseline="0" noProof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Arial" charset="0"/>
                  <a:ea typeface="ＭＳ Ｐゴシック" pitchFamily="34" charset="-128"/>
                </a:rPr>
                <a:t>''Smart data to business''</a:t>
              </a:r>
            </a:p>
          </p:txBody>
        </p:sp>
        <p:cxnSp>
          <p:nvCxnSpPr>
            <p:cNvPr id="9" name="Gerade Verbindung 8"/>
            <p:cNvCxnSpPr/>
            <p:nvPr/>
          </p:nvCxnSpPr>
          <p:spPr bwMode="auto">
            <a:xfrm>
              <a:off x="1715672" y="3372798"/>
              <a:ext cx="0" cy="18000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/>
          </p:nvCxnSpPr>
          <p:spPr bwMode="auto">
            <a:xfrm>
              <a:off x="7267611" y="3372798"/>
              <a:ext cx="0" cy="18000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692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de-DE" sz="100" dirty="0" smtClean="0">
              <a:solidFill>
                <a:srgbClr val="FFFFFF"/>
              </a:solidFill>
            </a:endParaRPr>
          </a:p>
        </p:txBody>
      </p:sp>
      <p:pic>
        <p:nvPicPr>
          <p:cNvPr id="77" name="Picture 7" descr="\\demchp9901xsto.ww002.siemens.net\mch18380$\My Documents\Projekte_Sonstiges\Vortraege_Helmrich\ZVEI_Energiewende-Dialog\06_06_2013_Innovationspanel\Bilder\Bilderbogen\in20080405-03_300dpi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888972" y="2247058"/>
            <a:ext cx="1594379" cy="560881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</p:pic>
      <p:pic>
        <p:nvPicPr>
          <p:cNvPr id="79" name="Picture 10" descr="J:\Rauch Christina\Bilder für Sören\Effiziente Energienutzung\Bild2.jpg"/>
          <p:cNvPicPr>
            <a:picLocks noChangeAspect="1" noChangeArrowheads="1"/>
          </p:cNvPicPr>
          <p:nvPr/>
        </p:nvPicPr>
        <p:blipFill>
          <a:blip r:embed="rId12" cstate="print"/>
          <a:srcRect l="7629" t="2971" r="774" b="2971"/>
          <a:stretch>
            <a:fillRect/>
          </a:stretch>
        </p:blipFill>
        <p:spPr bwMode="auto">
          <a:xfrm>
            <a:off x="536726" y="2247057"/>
            <a:ext cx="1592792" cy="560880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</p:pic>
      <p:pic>
        <p:nvPicPr>
          <p:cNvPr id="81" name="Picture 6" descr="SmartGrids_V08c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gray">
          <a:xfrm>
            <a:off x="2211465" y="2247058"/>
            <a:ext cx="1595560" cy="560880"/>
          </a:xfrm>
          <a:prstGeom prst="rect">
            <a:avLst/>
          </a:prstGeom>
          <a:noFill/>
          <a:ln w="9525">
            <a:solidFill>
              <a:schemeClr val="tx1"/>
            </a:solidFill>
            <a:prstDash val="solid"/>
            <a:miter lim="800000"/>
            <a:headEnd/>
            <a:tailEnd/>
          </a:ln>
        </p:spPr>
      </p:pic>
      <p:pic>
        <p:nvPicPr>
          <p:cNvPr id="82" name="Picture 4" descr="http://www.siemens.com/press/pool/de/pressebilder/imaging_it/medax200801025-01_300dpi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565296" y="2247060"/>
            <a:ext cx="1594379" cy="560879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</p:pic>
      <p:sp>
        <p:nvSpPr>
          <p:cNvPr id="85" name="Rectangle 13"/>
          <p:cNvSpPr>
            <a:spLocks noChangeArrowheads="1"/>
          </p:cNvSpPr>
          <p:nvPr/>
        </p:nvSpPr>
        <p:spPr bwMode="auto">
          <a:xfrm>
            <a:off x="535138" y="1744314"/>
            <a:ext cx="1594380" cy="502743"/>
          </a:xfrm>
          <a:prstGeom prst="rect">
            <a:avLst/>
          </a:prstGeom>
          <a:solidFill>
            <a:schemeClr val="accent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72000" rIns="108000" bIns="72000" anchor="ctr"/>
          <a:lstStyle/>
          <a:p>
            <a:pPr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Power Plants</a:t>
            </a:r>
            <a:endParaRPr lang="en-US" sz="1400" b="1" kern="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86" name="Rectangle 13"/>
          <p:cNvSpPr>
            <a:spLocks noChangeArrowheads="1"/>
          </p:cNvSpPr>
          <p:nvPr/>
        </p:nvSpPr>
        <p:spPr bwMode="auto">
          <a:xfrm>
            <a:off x="3888972" y="1744313"/>
            <a:ext cx="1594379" cy="502746"/>
          </a:xfrm>
          <a:prstGeom prst="rect">
            <a:avLst/>
          </a:prstGeom>
          <a:solidFill>
            <a:schemeClr val="accent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72000" rIns="108000" bIns="72000" anchor="ctr"/>
          <a:lstStyle/>
          <a:p>
            <a:pPr fontAlgn="auto"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Factories</a:t>
            </a:r>
          </a:p>
        </p:txBody>
      </p:sp>
      <p:sp>
        <p:nvSpPr>
          <p:cNvPr id="91" name="Rectangle 13"/>
          <p:cNvSpPr>
            <a:spLocks noChangeArrowheads="1"/>
          </p:cNvSpPr>
          <p:nvPr/>
        </p:nvSpPr>
        <p:spPr bwMode="auto">
          <a:xfrm>
            <a:off x="2211465" y="1744314"/>
            <a:ext cx="1595560" cy="502743"/>
          </a:xfrm>
          <a:prstGeom prst="rect">
            <a:avLst/>
          </a:prstGeom>
          <a:solidFill>
            <a:schemeClr val="accent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72000" rIns="108000" bIns="72000" anchor="ctr"/>
          <a:lstStyle/>
          <a:p>
            <a:pPr fontAlgn="auto"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Power Grids</a:t>
            </a:r>
            <a:endParaRPr lang="en-US" sz="1400" b="1" kern="0" dirty="0">
              <a:solidFill>
                <a:schemeClr val="bg1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93" name="Rectangle 13"/>
          <p:cNvSpPr>
            <a:spLocks noChangeArrowheads="1"/>
          </p:cNvSpPr>
          <p:nvPr/>
        </p:nvSpPr>
        <p:spPr bwMode="auto">
          <a:xfrm>
            <a:off x="5565297" y="1744314"/>
            <a:ext cx="1594379" cy="502743"/>
          </a:xfrm>
          <a:prstGeom prst="rect">
            <a:avLst/>
          </a:prstGeom>
          <a:solidFill>
            <a:schemeClr val="accent1"/>
          </a:solidFill>
          <a:ln w="9525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72000" rIns="108000" bIns="72000" anchor="ctr"/>
          <a:lstStyle/>
          <a:p>
            <a:pPr fontAlgn="auto"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defRPr/>
            </a:pPr>
            <a:r>
              <a:rPr lang="en-US" sz="1400" b="1" kern="0" dirty="0" smtClean="0">
                <a:solidFill>
                  <a:schemeClr val="bg1"/>
                </a:solidFill>
                <a:latin typeface="Arial" charset="0"/>
                <a:ea typeface="ＭＳ Ｐゴシック" pitchFamily="34" charset="-128"/>
              </a:rPr>
              <a:t>Hospitals</a:t>
            </a:r>
          </a:p>
        </p:txBody>
      </p:sp>
      <p:sp>
        <p:nvSpPr>
          <p:cNvPr id="45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Siemens - Smart Data to Business 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6" name="Picture 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4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4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2</a:t>
            </a:fld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76975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351534" y="4005064"/>
            <a:ext cx="7562378" cy="21602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ntent Placeholder 2"/>
          <p:cNvSpPr txBox="1">
            <a:spLocks/>
          </p:cNvSpPr>
          <p:nvPr/>
        </p:nvSpPr>
        <p:spPr>
          <a:xfrm>
            <a:off x="1351534" y="4044190"/>
            <a:ext cx="7562378" cy="204910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</a:rPr>
              <a:t>WinCC OA</a:t>
            </a:r>
            <a:endParaRPr lang="en-GB" sz="20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lnSpc>
                <a:spcPct val="80000"/>
              </a:lnSpc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Continue the work on the open fronts: RDB and CDT</a:t>
            </a:r>
          </a:p>
          <a:p>
            <a:pPr lvl="1">
              <a:lnSpc>
                <a:spcPct val="80000"/>
              </a:lnSpc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Broaden the spectrum of activities to other areas like:</a:t>
            </a:r>
          </a:p>
          <a:p>
            <a:pPr lvl="2">
              <a:lnSpc>
                <a:spcPct val="80000"/>
              </a:lnSpc>
            </a:pP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</a:rPr>
              <a:t>Visualization: </a:t>
            </a: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Web, widgets enhancements</a:t>
            </a:r>
          </a:p>
          <a:p>
            <a:pPr lvl="2">
              <a:lnSpc>
                <a:spcPct val="80000"/>
              </a:lnSpc>
            </a:pP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ecure Remote Access</a:t>
            </a:r>
          </a:p>
          <a:p>
            <a:pPr lvl="2">
              <a:lnSpc>
                <a:spcPct val="80000"/>
              </a:lnSpc>
            </a:pP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larms: Screen and alarm hierarchies</a:t>
            </a:r>
          </a:p>
          <a:p>
            <a:pPr lvl="2">
              <a:lnSpc>
                <a:spcPct val="80000"/>
              </a:lnSpc>
            </a:pPr>
            <a:r>
              <a:rPr lang="en-GB" sz="14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Enhanced </a:t>
            </a: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Reporting / Data Analytics </a:t>
            </a:r>
            <a:r>
              <a:rPr lang="en-GB" sz="14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tegration </a:t>
            </a:r>
            <a:endParaRPr lang="en-GB" sz="14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2">
              <a:lnSpc>
                <a:spcPct val="80000"/>
              </a:lnSpc>
            </a:pP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totype </a:t>
            </a:r>
            <a:r>
              <a:rPr lang="en-GB" sz="14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of NoSQL-based archiver </a:t>
            </a: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ystem</a:t>
            </a:r>
          </a:p>
          <a:p>
            <a:pPr lvl="2">
              <a:lnSpc>
                <a:spcPct val="80000"/>
              </a:lnSpc>
            </a:pPr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Development tools</a:t>
            </a: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" name="think-cell Slide" r:id="rId5" imgW="216" imgH="216" progId="">
                  <p:embed/>
                </p:oleObj>
              </mc:Choice>
              <mc:Fallback>
                <p:oleObj name="think-cell Slide" r:id="rId5" imgW="216" imgH="216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1391512" y="1375581"/>
            <a:ext cx="7522400" cy="11142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403648" y="1446655"/>
            <a:ext cx="7550242" cy="91058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defRPr sz="2800" b="1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̵"/>
              <a:defRPr sz="24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∙"/>
              <a:defRPr sz="1600" kern="1200">
                <a:solidFill>
                  <a:srgbClr val="22226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GB" sz="2000" dirty="0" smtClean="0">
                <a:solidFill>
                  <a:schemeClr val="accent1">
                    <a:lumMod val="75000"/>
                  </a:schemeClr>
                </a:solidFill>
              </a:rPr>
              <a:t>Data Analytics</a:t>
            </a:r>
            <a:endParaRPr lang="en-GB" sz="20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lnSpc>
                <a:spcPct val="80000"/>
              </a:lnSpc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Innovative Siemens’ Smart Data technologies suited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for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the analysis of many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CERN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control systems</a:t>
            </a:r>
          </a:p>
          <a:p>
            <a:pPr lvl="1">
              <a:lnSpc>
                <a:spcPct val="80000"/>
              </a:lnSpc>
            </a:pP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</a:rPr>
              <a:t>Integration of CERN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</a:rPr>
              <a:t>specific extensions &amp; data analysis algorithms </a:t>
            </a:r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403648" y="274637"/>
            <a:ext cx="7283152" cy="1143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ERN &amp; Siemens collaboration 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Next Steps</a:t>
            </a: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320527" y="2968894"/>
            <a:ext cx="8727370" cy="0"/>
          </a:xfrm>
          <a:prstGeom prst="straightConnector1">
            <a:avLst/>
          </a:prstGeom>
          <a:ln w="254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ounded Rectangle 13"/>
          <p:cNvSpPr/>
          <p:nvPr/>
        </p:nvSpPr>
        <p:spPr>
          <a:xfrm>
            <a:off x="867788" y="2659981"/>
            <a:ext cx="1008112" cy="270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i="1" dirty="0">
                <a:solidFill>
                  <a:schemeClr val="accent1">
                    <a:lumMod val="75000"/>
                  </a:schemeClr>
                </a:solidFill>
              </a:rPr>
              <a:t>Q3/2015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2987824" y="2657318"/>
            <a:ext cx="1008112" cy="270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dirty="0" smtClean="0">
                <a:solidFill>
                  <a:schemeClr val="accent1">
                    <a:lumMod val="75000"/>
                  </a:schemeClr>
                </a:solidFill>
              </a:rPr>
              <a:t>Q1/2016</a:t>
            </a:r>
            <a:endParaRPr lang="en-GB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4716016" y="2657318"/>
            <a:ext cx="1008112" cy="270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i="1" dirty="0" smtClean="0">
                <a:solidFill>
                  <a:schemeClr val="accent1">
                    <a:lumMod val="75000"/>
                  </a:schemeClr>
                </a:solidFill>
              </a:rPr>
              <a:t>Q2/2016</a:t>
            </a:r>
            <a:endParaRPr lang="en-GB" sz="1400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6187436" y="2657318"/>
            <a:ext cx="1008112" cy="270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i="1" dirty="0" smtClean="0">
                <a:solidFill>
                  <a:schemeClr val="accent1">
                    <a:lumMod val="75000"/>
                  </a:schemeClr>
                </a:solidFill>
              </a:rPr>
              <a:t>Q1/2017</a:t>
            </a:r>
            <a:endParaRPr lang="en-GB" sz="1400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7524328" y="2650446"/>
            <a:ext cx="1008112" cy="2705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GB" sz="1400" i="1" dirty="0" smtClean="0">
                <a:solidFill>
                  <a:schemeClr val="accent1">
                    <a:lumMod val="75000"/>
                  </a:schemeClr>
                </a:solidFill>
              </a:rPr>
              <a:t>2018</a:t>
            </a:r>
            <a:endParaRPr lang="en-GB" sz="1400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graphicFrame>
        <p:nvGraphicFramePr>
          <p:cNvPr id="27" name="Diagram 26"/>
          <p:cNvGraphicFramePr/>
          <p:nvPr>
            <p:extLst>
              <p:ext uri="{D42A27DB-BD31-4B8C-83A1-F6EECF244321}">
                <p14:modId xmlns:p14="http://schemas.microsoft.com/office/powerpoint/2010/main" val="3286140833"/>
              </p:ext>
            </p:extLst>
          </p:nvPr>
        </p:nvGraphicFramePr>
        <p:xfrm>
          <a:off x="107505" y="3037698"/>
          <a:ext cx="8940392" cy="7920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Documents and Settings\ftilaro\Local Settings\Temporary Internet Files\Content.IE5\UE0QMS3C\MC900441498[1]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4168" y="188640"/>
            <a:ext cx="2836683" cy="2836683"/>
          </a:xfrm>
          <a:prstGeom prst="rect">
            <a:avLst/>
          </a:prstGeom>
          <a:noFill/>
        </p:spPr>
      </p:pic>
      <p:sp>
        <p:nvSpPr>
          <p:cNvPr id="8" name="Rectangle 7"/>
          <p:cNvSpPr/>
          <p:nvPr/>
        </p:nvSpPr>
        <p:spPr>
          <a:xfrm>
            <a:off x="251520" y="1203919"/>
            <a:ext cx="8892480" cy="510540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1313" indent="-341313" algn="ctr">
              <a:spcBef>
                <a:spcPct val="20000"/>
              </a:spcBef>
              <a:buClr>
                <a:srgbClr val="003399"/>
              </a:buClr>
              <a:defRPr/>
            </a:pPr>
            <a:endParaRPr lang="en-US" sz="4000" b="1" u="sng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1313" indent="-341313" algn="ctr">
              <a:spcBef>
                <a:spcPct val="20000"/>
              </a:spcBef>
              <a:buClr>
                <a:srgbClr val="003399"/>
              </a:buClr>
              <a:defRPr/>
            </a:pPr>
            <a:endParaRPr lang="en-US" sz="4000" b="1" u="sng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1313" indent="-341313" algn="ctr">
              <a:spcBef>
                <a:spcPct val="20000"/>
              </a:spcBef>
              <a:buClr>
                <a:srgbClr val="003399"/>
              </a:buClr>
              <a:defRPr/>
            </a:pPr>
            <a:r>
              <a:rPr lang="en-US" sz="4000" b="1" u="sng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ny Questions</a:t>
            </a:r>
          </a:p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defRPr/>
            </a:pPr>
            <a:endParaRPr lang="en-US" sz="4000" b="1" u="sng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defRPr/>
            </a:pPr>
            <a:endParaRPr lang="en-US" sz="4000" b="1" u="sng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indent="-342900" algn="ctr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SzPct val="150000"/>
              <a:defRPr/>
            </a:pPr>
            <a:r>
              <a:rPr lang="en-US" sz="4000" b="1" u="sng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hank you for your attention!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CERN openlab</a:t>
            </a:r>
            <a:endParaRPr lang="en-GB" dirty="0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21</a:t>
            </a:fld>
            <a:endParaRPr lang="en-GB"/>
          </a:p>
        </p:txBody>
      </p:sp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Connector 12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328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73"/>
          <p:cNvGrpSpPr/>
          <p:nvPr/>
        </p:nvGrpSpPr>
        <p:grpSpPr>
          <a:xfrm>
            <a:off x="3428467" y="1506630"/>
            <a:ext cx="5680037" cy="4658674"/>
            <a:chOff x="3952874" y="1468438"/>
            <a:chExt cx="8242301" cy="5036661"/>
          </a:xfrm>
        </p:grpSpPr>
        <p:sp>
          <p:nvSpPr>
            <p:cNvPr id="268" name="Line 5"/>
            <p:cNvSpPr>
              <a:spLocks noChangeShapeType="1"/>
            </p:cNvSpPr>
            <p:nvPr/>
          </p:nvSpPr>
          <p:spPr bwMode="auto">
            <a:xfrm>
              <a:off x="10502900" y="4672013"/>
              <a:ext cx="0" cy="7048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69" name="Line 6"/>
            <p:cNvSpPr>
              <a:spLocks noChangeShapeType="1"/>
            </p:cNvSpPr>
            <p:nvPr/>
          </p:nvSpPr>
          <p:spPr bwMode="auto">
            <a:xfrm>
              <a:off x="9414464" y="5377451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0" name="Line 7"/>
            <p:cNvSpPr>
              <a:spLocks noChangeShapeType="1"/>
            </p:cNvSpPr>
            <p:nvPr/>
          </p:nvSpPr>
          <p:spPr bwMode="auto">
            <a:xfrm>
              <a:off x="8662399" y="5377451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71" name="Line 8"/>
            <p:cNvSpPr>
              <a:spLocks noChangeShapeType="1"/>
            </p:cNvSpPr>
            <p:nvPr/>
          </p:nvSpPr>
          <p:spPr bwMode="auto">
            <a:xfrm>
              <a:off x="7734300" y="4668838"/>
              <a:ext cx="0" cy="88900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pic>
          <p:nvPicPr>
            <p:cNvPr id="272" name="Picture 9" descr="s7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5679909" y="5681006"/>
              <a:ext cx="590550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3" name="Rectangle 10"/>
            <p:cNvSpPr>
              <a:spLocks noChangeArrowheads="1"/>
            </p:cNvSpPr>
            <p:nvPr/>
          </p:nvSpPr>
          <p:spPr bwMode="auto">
            <a:xfrm>
              <a:off x="6286985" y="2165350"/>
              <a:ext cx="5595546" cy="1258888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160338" indent="-160338">
                <a:spcBef>
                  <a:spcPct val="0"/>
                </a:spcBef>
                <a:buClrTx/>
                <a:buFontTx/>
                <a:buNone/>
              </a:pPr>
              <a:endParaRPr lang="en-US"/>
            </a:p>
            <a:p>
              <a:pPr marL="160338" indent="-160338">
                <a:spcBef>
                  <a:spcPct val="0"/>
                </a:spcBef>
                <a:buClrTx/>
                <a:buFontTx/>
                <a:buChar char="•"/>
              </a:pPr>
              <a:endParaRPr lang="en-US"/>
            </a:p>
          </p:txBody>
        </p:sp>
        <p:sp>
          <p:nvSpPr>
            <p:cNvPr id="274" name="Line 11"/>
            <p:cNvSpPr>
              <a:spLocks noChangeShapeType="1"/>
            </p:cNvSpPr>
            <p:nvPr/>
          </p:nvSpPr>
          <p:spPr bwMode="auto">
            <a:xfrm>
              <a:off x="4084638" y="4981575"/>
              <a:ext cx="8110537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Line 12"/>
            <p:cNvSpPr>
              <a:spLocks noChangeShapeType="1"/>
            </p:cNvSpPr>
            <p:nvPr/>
          </p:nvSpPr>
          <p:spPr bwMode="auto">
            <a:xfrm>
              <a:off x="4075113" y="3540125"/>
              <a:ext cx="8120062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Text Box 13"/>
            <p:cNvSpPr txBox="1">
              <a:spLocks noChangeArrowheads="1"/>
            </p:cNvSpPr>
            <p:nvPr/>
          </p:nvSpPr>
          <p:spPr bwMode="auto">
            <a:xfrm>
              <a:off x="3952874" y="2028825"/>
              <a:ext cx="2178923" cy="320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sz="1400" smtClean="0">
                  <a:solidFill>
                    <a:schemeClr val="tx1"/>
                  </a:solidFill>
                </a:rPr>
                <a:t>Supervisory layer</a:t>
              </a:r>
            </a:p>
          </p:txBody>
        </p:sp>
        <p:sp>
          <p:nvSpPr>
            <p:cNvPr id="277" name="Text Box 14"/>
            <p:cNvSpPr txBox="1">
              <a:spLocks noChangeArrowheads="1"/>
            </p:cNvSpPr>
            <p:nvPr/>
          </p:nvSpPr>
          <p:spPr bwMode="auto">
            <a:xfrm>
              <a:off x="3961935" y="4981574"/>
              <a:ext cx="1697379" cy="320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sz="1400" smtClean="0">
                  <a:solidFill>
                    <a:schemeClr val="tx1"/>
                  </a:solidFill>
                </a:rPr>
                <a:t>Control layer</a:t>
              </a:r>
            </a:p>
          </p:txBody>
        </p:sp>
        <p:sp>
          <p:nvSpPr>
            <p:cNvPr id="278" name="Text Box 15"/>
            <p:cNvSpPr txBox="1">
              <a:spLocks noChangeArrowheads="1"/>
            </p:cNvSpPr>
            <p:nvPr/>
          </p:nvSpPr>
          <p:spPr bwMode="auto">
            <a:xfrm>
              <a:off x="3954462" y="3550047"/>
              <a:ext cx="1909041" cy="5450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sz="1400" smtClean="0">
                  <a:solidFill>
                    <a:schemeClr val="tx1"/>
                  </a:solidFill>
                </a:rPr>
                <a:t>SCADA / DCS </a:t>
              </a:r>
            </a:p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sz="1400" smtClean="0">
                  <a:solidFill>
                    <a:schemeClr val="tx1"/>
                  </a:solidFill>
                </a:rPr>
                <a:t>layer</a:t>
              </a: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79" name="Line 16"/>
            <p:cNvSpPr>
              <a:spLocks noChangeShapeType="1"/>
            </p:cNvSpPr>
            <p:nvPr/>
          </p:nvSpPr>
          <p:spPr bwMode="auto">
            <a:xfrm>
              <a:off x="4081463" y="2028825"/>
              <a:ext cx="8113712" cy="15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en-US"/>
            </a:p>
          </p:txBody>
        </p:sp>
        <p:pic>
          <p:nvPicPr>
            <p:cNvPr id="280" name="Picture 17" descr="display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6489700" y="2551113"/>
              <a:ext cx="728663" cy="546100"/>
            </a:xfrm>
            <a:prstGeom prst="rect">
              <a:avLst/>
            </a:prstGeom>
            <a:noFill/>
          </p:spPr>
        </p:pic>
        <p:sp>
          <p:nvSpPr>
            <p:cNvPr id="281" name="Line 18"/>
            <p:cNvSpPr>
              <a:spLocks noChangeShapeType="1"/>
            </p:cNvSpPr>
            <p:nvPr/>
          </p:nvSpPr>
          <p:spPr bwMode="auto">
            <a:xfrm>
              <a:off x="7490012" y="1776412"/>
              <a:ext cx="0" cy="74612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2" name="Line 19"/>
            <p:cNvSpPr>
              <a:spLocks noChangeShapeType="1"/>
            </p:cNvSpPr>
            <p:nvPr/>
          </p:nvSpPr>
          <p:spPr bwMode="auto">
            <a:xfrm>
              <a:off x="7486650" y="3051175"/>
              <a:ext cx="0" cy="779463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3" name="Line 20"/>
            <p:cNvSpPr>
              <a:spLocks noChangeShapeType="1"/>
            </p:cNvSpPr>
            <p:nvPr/>
          </p:nvSpPr>
          <p:spPr bwMode="auto">
            <a:xfrm>
              <a:off x="7512050" y="2874963"/>
              <a:ext cx="887413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84" name="Text Box 21"/>
            <p:cNvSpPr txBox="1">
              <a:spLocks noChangeArrowheads="1"/>
            </p:cNvSpPr>
            <p:nvPr/>
          </p:nvSpPr>
          <p:spPr bwMode="auto">
            <a:xfrm>
              <a:off x="3954462" y="1468438"/>
              <a:ext cx="2114325" cy="3205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sz="1400" smtClean="0">
                  <a:solidFill>
                    <a:schemeClr val="tx1"/>
                  </a:solidFill>
                </a:rPr>
                <a:t>PPS / MES layer</a:t>
              </a: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85" name="Text Box 22"/>
            <p:cNvSpPr txBox="1">
              <a:spLocks noChangeArrowheads="1"/>
            </p:cNvSpPr>
            <p:nvPr/>
          </p:nvSpPr>
          <p:spPr bwMode="auto">
            <a:xfrm>
              <a:off x="6286985" y="1492716"/>
              <a:ext cx="2399069" cy="67324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b="1" smtClean="0">
                  <a:solidFill>
                    <a:schemeClr val="bg1"/>
                  </a:solidFill>
                </a:rPr>
                <a:t>Business systems</a:t>
              </a:r>
              <a:endParaRPr lang="en-US" b="1">
                <a:solidFill>
                  <a:schemeClr val="bg1"/>
                </a:solidFill>
              </a:endParaRPr>
            </a:p>
          </p:txBody>
        </p:sp>
        <p:pic>
          <p:nvPicPr>
            <p:cNvPr id="286" name="Picture 23" descr="tower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8478838" y="2281238"/>
              <a:ext cx="260350" cy="338137"/>
            </a:xfrm>
            <a:prstGeom prst="rect">
              <a:avLst/>
            </a:prstGeom>
            <a:noFill/>
          </p:spPr>
        </p:pic>
        <p:pic>
          <p:nvPicPr>
            <p:cNvPr id="287" name="Picture 24" descr="tower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8767763" y="2497138"/>
              <a:ext cx="260350" cy="338137"/>
            </a:xfrm>
            <a:prstGeom prst="rect">
              <a:avLst/>
            </a:prstGeom>
            <a:noFill/>
          </p:spPr>
        </p:pic>
        <p:sp>
          <p:nvSpPr>
            <p:cNvPr id="290" name="Line 27"/>
            <p:cNvSpPr>
              <a:spLocks noChangeShapeType="1"/>
            </p:cNvSpPr>
            <p:nvPr/>
          </p:nvSpPr>
          <p:spPr bwMode="auto">
            <a:xfrm flipH="1">
              <a:off x="8415338" y="2436224"/>
              <a:ext cx="857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1" name="Line 28"/>
            <p:cNvSpPr>
              <a:spLocks noChangeShapeType="1"/>
            </p:cNvSpPr>
            <p:nvPr/>
          </p:nvSpPr>
          <p:spPr bwMode="auto">
            <a:xfrm flipH="1">
              <a:off x="8407400" y="2657475"/>
              <a:ext cx="381000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2" name="Line 29"/>
            <p:cNvSpPr>
              <a:spLocks noChangeShapeType="1"/>
            </p:cNvSpPr>
            <p:nvPr/>
          </p:nvSpPr>
          <p:spPr bwMode="auto">
            <a:xfrm flipH="1">
              <a:off x="8415338" y="2873375"/>
              <a:ext cx="660400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3" name="Line 30"/>
            <p:cNvSpPr>
              <a:spLocks noChangeShapeType="1"/>
            </p:cNvSpPr>
            <p:nvPr/>
          </p:nvSpPr>
          <p:spPr bwMode="auto">
            <a:xfrm flipH="1">
              <a:off x="8401639" y="3089275"/>
              <a:ext cx="96837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4" name="Line 31"/>
            <p:cNvSpPr>
              <a:spLocks noChangeShapeType="1"/>
            </p:cNvSpPr>
            <p:nvPr/>
          </p:nvSpPr>
          <p:spPr bwMode="auto">
            <a:xfrm>
              <a:off x="8407400" y="2433638"/>
              <a:ext cx="0" cy="6540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295" name="Text Box 32"/>
            <p:cNvSpPr txBox="1">
              <a:spLocks noChangeArrowheads="1"/>
            </p:cNvSpPr>
            <p:nvPr/>
          </p:nvSpPr>
          <p:spPr bwMode="auto">
            <a:xfrm>
              <a:off x="9811181" y="2519055"/>
              <a:ext cx="1995154" cy="769417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>
                <a:spcBef>
                  <a:spcPct val="0"/>
                </a:spcBef>
                <a:buClrTx/>
              </a:pPr>
              <a:r>
                <a:rPr lang="en-US" sz="1200" b="1" dirty="0" smtClean="0">
                  <a:solidFill>
                    <a:schemeClr val="bg1"/>
                  </a:solidFill>
                </a:rPr>
                <a:t>Flexible concept for special needs to integrate other applications</a:t>
              </a:r>
            </a:p>
          </p:txBody>
        </p:sp>
        <p:pic>
          <p:nvPicPr>
            <p:cNvPr id="296" name="Picture 33" descr="tower"/>
            <p:cNvPicPr>
              <a:picLocks noChangeAspect="1" noChangeArrowheads="1"/>
            </p:cNvPicPr>
            <p:nvPr/>
          </p:nvPicPr>
          <p:blipFill>
            <a:blip r:embed="rId7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6140450" y="4067175"/>
              <a:ext cx="479425" cy="62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" name="Picture 34" descr="tower"/>
            <p:cNvPicPr>
              <a:picLocks noChangeAspect="1" noChangeArrowheads="1"/>
            </p:cNvPicPr>
            <p:nvPr/>
          </p:nvPicPr>
          <p:blipFill>
            <a:blip r:embed="rId7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7519988" y="4071938"/>
              <a:ext cx="481012" cy="623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8" name="Picture 35" descr="tower"/>
            <p:cNvPicPr>
              <a:picLocks noChangeAspect="1" noChangeArrowheads="1"/>
            </p:cNvPicPr>
            <p:nvPr/>
          </p:nvPicPr>
          <p:blipFill>
            <a:blip r:embed="rId7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10293350" y="4067175"/>
              <a:ext cx="481013" cy="62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9" name="Picture 36" descr="tower"/>
            <p:cNvPicPr>
              <a:picLocks noChangeAspect="1" noChangeArrowheads="1"/>
            </p:cNvPicPr>
            <p:nvPr/>
          </p:nvPicPr>
          <p:blipFill>
            <a:blip r:embed="rId7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8824913" y="4071938"/>
              <a:ext cx="481012" cy="623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0" name="Picture 37" descr="tower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11585575" y="4070350"/>
              <a:ext cx="481013" cy="62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1" name="Picture 38" descr="display"/>
            <p:cNvPicPr>
              <a:picLocks noChangeAspect="1" noChangeArrowheads="1"/>
            </p:cNvPicPr>
            <p:nvPr/>
          </p:nvPicPr>
          <p:blipFill>
            <a:blip r:embed="rId5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5384800" y="4164013"/>
              <a:ext cx="727075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2" name="Picture 39" descr="display"/>
            <p:cNvPicPr>
              <a:picLocks noChangeAspect="1" noChangeArrowheads="1"/>
            </p:cNvPicPr>
            <p:nvPr/>
          </p:nvPicPr>
          <p:blipFill>
            <a:blip r:embed="rId5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6775450" y="4168775"/>
              <a:ext cx="728663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3" name="Picture 40" descr="display"/>
            <p:cNvPicPr>
              <a:picLocks noChangeAspect="1" noChangeArrowheads="1"/>
            </p:cNvPicPr>
            <p:nvPr/>
          </p:nvPicPr>
          <p:blipFill>
            <a:blip r:embed="rId5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8059738" y="4162425"/>
              <a:ext cx="728662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4" name="Picture 41" descr="display"/>
            <p:cNvPicPr>
              <a:picLocks noChangeAspect="1" noChangeArrowheads="1"/>
            </p:cNvPicPr>
            <p:nvPr/>
          </p:nvPicPr>
          <p:blipFill>
            <a:blip r:embed="rId5" cstate="email">
              <a:lum bright="20000" contrast="-40000"/>
            </a:blip>
            <a:srcRect/>
            <a:stretch>
              <a:fillRect/>
            </a:stretch>
          </p:blipFill>
          <p:spPr bwMode="auto">
            <a:xfrm>
              <a:off x="9529763" y="4165600"/>
              <a:ext cx="728662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5" name="Picture 42" descr="display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10856913" y="4170363"/>
              <a:ext cx="728662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6" name="Line 43"/>
            <p:cNvSpPr>
              <a:spLocks noChangeShapeType="1"/>
            </p:cNvSpPr>
            <p:nvPr/>
          </p:nvSpPr>
          <p:spPr bwMode="auto">
            <a:xfrm>
              <a:off x="5260975" y="3832225"/>
              <a:ext cx="6545263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7" name="Line 44"/>
            <p:cNvSpPr>
              <a:spLocks noChangeShapeType="1"/>
            </p:cNvSpPr>
            <p:nvPr/>
          </p:nvSpPr>
          <p:spPr bwMode="auto">
            <a:xfrm>
              <a:off x="6356350" y="3827463"/>
              <a:ext cx="0" cy="25717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8" name="Line 45"/>
            <p:cNvSpPr>
              <a:spLocks noChangeShapeType="1"/>
            </p:cNvSpPr>
            <p:nvPr/>
          </p:nvSpPr>
          <p:spPr bwMode="auto">
            <a:xfrm>
              <a:off x="7729538" y="3829050"/>
              <a:ext cx="0" cy="25717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09" name="Line 46"/>
            <p:cNvSpPr>
              <a:spLocks noChangeShapeType="1"/>
            </p:cNvSpPr>
            <p:nvPr/>
          </p:nvSpPr>
          <p:spPr bwMode="auto">
            <a:xfrm>
              <a:off x="9034463" y="3835400"/>
              <a:ext cx="0" cy="25717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0" name="Line 47"/>
            <p:cNvSpPr>
              <a:spLocks noChangeShapeType="1"/>
            </p:cNvSpPr>
            <p:nvPr/>
          </p:nvSpPr>
          <p:spPr bwMode="auto">
            <a:xfrm>
              <a:off x="10502900" y="3832225"/>
              <a:ext cx="0" cy="25717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1" name="Line 48"/>
            <p:cNvSpPr>
              <a:spLocks noChangeShapeType="1"/>
            </p:cNvSpPr>
            <p:nvPr/>
          </p:nvSpPr>
          <p:spPr bwMode="auto">
            <a:xfrm>
              <a:off x="11807825" y="3833813"/>
              <a:ext cx="0" cy="25717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2" name="Line 49"/>
            <p:cNvSpPr>
              <a:spLocks noChangeShapeType="1"/>
            </p:cNvSpPr>
            <p:nvPr/>
          </p:nvSpPr>
          <p:spPr bwMode="auto">
            <a:xfrm>
              <a:off x="5251450" y="3822700"/>
              <a:ext cx="0" cy="1882774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pic>
          <p:nvPicPr>
            <p:cNvPr id="313" name="Picture 50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4962195" y="5682594"/>
              <a:ext cx="590550" cy="215900"/>
            </a:xfrm>
            <a:prstGeom prst="rect">
              <a:avLst/>
            </a:prstGeom>
            <a:noFill/>
          </p:spPr>
        </p:pic>
        <p:pic>
          <p:nvPicPr>
            <p:cNvPr id="314" name="Picture 51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4232110" y="5684180"/>
              <a:ext cx="590550" cy="215900"/>
            </a:xfrm>
            <a:prstGeom prst="rect">
              <a:avLst/>
            </a:prstGeom>
            <a:solidFill>
              <a:schemeClr val="accent1"/>
            </a:solidFill>
          </p:spPr>
        </p:pic>
        <p:sp>
          <p:nvSpPr>
            <p:cNvPr id="315" name="Line 52"/>
            <p:cNvSpPr>
              <a:spLocks noChangeShapeType="1"/>
            </p:cNvSpPr>
            <p:nvPr/>
          </p:nvSpPr>
          <p:spPr bwMode="auto">
            <a:xfrm>
              <a:off x="4519612" y="5523349"/>
              <a:ext cx="14573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6" name="Line 53"/>
            <p:cNvSpPr>
              <a:spLocks noChangeShapeType="1"/>
            </p:cNvSpPr>
            <p:nvPr/>
          </p:nvSpPr>
          <p:spPr bwMode="auto">
            <a:xfrm>
              <a:off x="4523786" y="5516999"/>
              <a:ext cx="0" cy="164006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8" name="Line 55"/>
            <p:cNvSpPr>
              <a:spLocks noChangeShapeType="1"/>
            </p:cNvSpPr>
            <p:nvPr/>
          </p:nvSpPr>
          <p:spPr bwMode="auto">
            <a:xfrm>
              <a:off x="5969588" y="5525361"/>
              <a:ext cx="0" cy="155645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19" name="Text Box 56"/>
            <p:cNvSpPr txBox="1">
              <a:spLocks noChangeArrowheads="1"/>
            </p:cNvSpPr>
            <p:nvPr/>
          </p:nvSpPr>
          <p:spPr bwMode="auto">
            <a:xfrm>
              <a:off x="5672139" y="4708525"/>
              <a:ext cx="620712" cy="16029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00" b="1">
                  <a:solidFill>
                    <a:schemeClr val="tx1"/>
                  </a:solidFill>
                </a:rPr>
                <a:t>PCS 7</a:t>
              </a:r>
            </a:p>
          </p:txBody>
        </p:sp>
        <p:sp>
          <p:nvSpPr>
            <p:cNvPr id="320" name="Text Box 57"/>
            <p:cNvSpPr txBox="1">
              <a:spLocks noChangeArrowheads="1"/>
            </p:cNvSpPr>
            <p:nvPr/>
          </p:nvSpPr>
          <p:spPr bwMode="auto">
            <a:xfrm>
              <a:off x="6715125" y="4710113"/>
              <a:ext cx="1347788" cy="16029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00" b="1" dirty="0" smtClean="0">
                  <a:solidFill>
                    <a:schemeClr val="tx1"/>
                  </a:solidFill>
                </a:rPr>
                <a:t>3rd Party DCS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321" name="Text Box 58"/>
            <p:cNvSpPr txBox="1">
              <a:spLocks noChangeArrowheads="1"/>
            </p:cNvSpPr>
            <p:nvPr/>
          </p:nvSpPr>
          <p:spPr bwMode="auto">
            <a:xfrm>
              <a:off x="8348663" y="4702175"/>
              <a:ext cx="619125" cy="16029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00" b="1">
                  <a:solidFill>
                    <a:schemeClr val="tx1"/>
                  </a:solidFill>
                </a:rPr>
                <a:t>WinCC</a:t>
              </a:r>
            </a:p>
          </p:txBody>
        </p:sp>
        <p:sp>
          <p:nvSpPr>
            <p:cNvPr id="322" name="Text Box 59"/>
            <p:cNvSpPr txBox="1">
              <a:spLocks noChangeArrowheads="1"/>
            </p:cNvSpPr>
            <p:nvPr/>
          </p:nvSpPr>
          <p:spPr bwMode="auto">
            <a:xfrm>
              <a:off x="9440863" y="4694238"/>
              <a:ext cx="1401761" cy="320591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1000" b="1" dirty="0" smtClean="0">
                  <a:solidFill>
                    <a:schemeClr val="tx1"/>
                  </a:solidFill>
                </a:rPr>
                <a:t>3rd Party SCADA</a:t>
              </a:r>
              <a:endParaRPr lang="en-US" sz="1000" b="1" dirty="0">
                <a:solidFill>
                  <a:schemeClr val="tx1"/>
                </a:solidFill>
              </a:endParaRPr>
            </a:p>
          </p:txBody>
        </p:sp>
        <p:pic>
          <p:nvPicPr>
            <p:cNvPr id="323" name="Picture 60" descr="s7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6801779" y="6286024"/>
              <a:ext cx="590550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4" name="Picture 61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6053138" y="6287611"/>
              <a:ext cx="590550" cy="215900"/>
            </a:xfrm>
            <a:prstGeom prst="rect">
              <a:avLst/>
            </a:prstGeom>
            <a:noFill/>
          </p:spPr>
        </p:pic>
        <p:pic>
          <p:nvPicPr>
            <p:cNvPr id="325" name="Picture 62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5347794" y="6289199"/>
              <a:ext cx="590550" cy="215900"/>
            </a:xfrm>
            <a:prstGeom prst="rect">
              <a:avLst/>
            </a:prstGeom>
            <a:noFill/>
          </p:spPr>
        </p:pic>
        <p:sp>
          <p:nvSpPr>
            <p:cNvPr id="326" name="Line 63"/>
            <p:cNvSpPr>
              <a:spLocks noChangeShapeType="1"/>
            </p:cNvSpPr>
            <p:nvPr/>
          </p:nvSpPr>
          <p:spPr bwMode="auto">
            <a:xfrm>
              <a:off x="5635625" y="6115996"/>
              <a:ext cx="1457325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7" name="Line 64"/>
            <p:cNvSpPr>
              <a:spLocks noChangeShapeType="1"/>
            </p:cNvSpPr>
            <p:nvPr/>
          </p:nvSpPr>
          <p:spPr bwMode="auto">
            <a:xfrm>
              <a:off x="5645150" y="6109646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29" name="Line 66"/>
            <p:cNvSpPr>
              <a:spLocks noChangeShapeType="1"/>
            </p:cNvSpPr>
            <p:nvPr/>
          </p:nvSpPr>
          <p:spPr bwMode="auto">
            <a:xfrm>
              <a:off x="7092950" y="6106471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0" name="Line 67"/>
            <p:cNvSpPr>
              <a:spLocks noChangeShapeType="1"/>
            </p:cNvSpPr>
            <p:nvPr/>
          </p:nvSpPr>
          <p:spPr bwMode="auto">
            <a:xfrm>
              <a:off x="6350000" y="4679121"/>
              <a:ext cx="0" cy="1436204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pic>
          <p:nvPicPr>
            <p:cNvPr id="331" name="Picture 68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7443624" y="5543880"/>
              <a:ext cx="590550" cy="215900"/>
            </a:xfrm>
            <a:prstGeom prst="rect">
              <a:avLst/>
            </a:prstGeom>
            <a:noFill/>
          </p:spPr>
        </p:pic>
        <p:pic>
          <p:nvPicPr>
            <p:cNvPr id="332" name="Picture 69" descr="s7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9122704" y="5542128"/>
              <a:ext cx="590550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33" name="Picture 70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8367877" y="5537530"/>
              <a:ext cx="590550" cy="215900"/>
            </a:xfrm>
            <a:prstGeom prst="rect">
              <a:avLst/>
            </a:prstGeom>
            <a:noFill/>
          </p:spPr>
        </p:pic>
        <p:sp>
          <p:nvSpPr>
            <p:cNvPr id="334" name="Line 71"/>
            <p:cNvSpPr>
              <a:spLocks noChangeShapeType="1"/>
            </p:cNvSpPr>
            <p:nvPr/>
          </p:nvSpPr>
          <p:spPr bwMode="auto">
            <a:xfrm>
              <a:off x="9034463" y="4675188"/>
              <a:ext cx="0" cy="7048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5" name="Line 72"/>
            <p:cNvSpPr>
              <a:spLocks noChangeShapeType="1"/>
            </p:cNvSpPr>
            <p:nvPr/>
          </p:nvSpPr>
          <p:spPr bwMode="auto">
            <a:xfrm>
              <a:off x="8656638" y="5380038"/>
              <a:ext cx="763587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6" name="Line 73"/>
            <p:cNvSpPr>
              <a:spLocks noChangeShapeType="1"/>
            </p:cNvSpPr>
            <p:nvPr/>
          </p:nvSpPr>
          <p:spPr bwMode="auto">
            <a:xfrm>
              <a:off x="10882901" y="5375110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37" name="Line 74"/>
            <p:cNvSpPr>
              <a:spLocks noChangeShapeType="1"/>
            </p:cNvSpPr>
            <p:nvPr/>
          </p:nvSpPr>
          <p:spPr bwMode="auto">
            <a:xfrm>
              <a:off x="10128527" y="5375110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pic>
          <p:nvPicPr>
            <p:cNvPr id="338" name="Picture 75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9836315" y="5546725"/>
              <a:ext cx="590550" cy="215900"/>
            </a:xfrm>
            <a:prstGeom prst="rect">
              <a:avLst/>
            </a:prstGeom>
            <a:noFill/>
          </p:spPr>
        </p:pic>
        <p:sp>
          <p:nvSpPr>
            <p:cNvPr id="339" name="Line 76"/>
            <p:cNvSpPr>
              <a:spLocks noChangeShapeType="1"/>
            </p:cNvSpPr>
            <p:nvPr/>
          </p:nvSpPr>
          <p:spPr bwMode="auto">
            <a:xfrm>
              <a:off x="10126663" y="5376863"/>
              <a:ext cx="762000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pic>
          <p:nvPicPr>
            <p:cNvPr id="340" name="Picture 77" descr="s7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11520158" y="6279224"/>
              <a:ext cx="590550" cy="215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" name="Picture 78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10788486" y="6280810"/>
              <a:ext cx="592138" cy="215900"/>
            </a:xfrm>
            <a:prstGeom prst="rect">
              <a:avLst/>
            </a:prstGeom>
            <a:noFill/>
          </p:spPr>
        </p:pic>
        <p:pic>
          <p:nvPicPr>
            <p:cNvPr id="342" name="Picture 79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10070770" y="6282399"/>
              <a:ext cx="590550" cy="215900"/>
            </a:xfrm>
            <a:prstGeom prst="rect">
              <a:avLst/>
            </a:prstGeom>
            <a:noFill/>
          </p:spPr>
        </p:pic>
        <p:sp>
          <p:nvSpPr>
            <p:cNvPr id="343" name="Line 80"/>
            <p:cNvSpPr>
              <a:spLocks noChangeShapeType="1"/>
            </p:cNvSpPr>
            <p:nvPr/>
          </p:nvSpPr>
          <p:spPr bwMode="auto">
            <a:xfrm>
              <a:off x="10355263" y="6103011"/>
              <a:ext cx="1450974" cy="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4" name="Line 81"/>
            <p:cNvSpPr>
              <a:spLocks noChangeShapeType="1"/>
            </p:cNvSpPr>
            <p:nvPr/>
          </p:nvSpPr>
          <p:spPr bwMode="auto">
            <a:xfrm>
              <a:off x="10361613" y="6110877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5" name="Line 82"/>
            <p:cNvSpPr>
              <a:spLocks noChangeShapeType="1"/>
            </p:cNvSpPr>
            <p:nvPr/>
          </p:nvSpPr>
          <p:spPr bwMode="auto">
            <a:xfrm>
              <a:off x="11080750" y="6096661"/>
              <a:ext cx="0" cy="184150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7" name="Line 84"/>
            <p:cNvSpPr>
              <a:spLocks noChangeShapeType="1"/>
            </p:cNvSpPr>
            <p:nvPr/>
          </p:nvSpPr>
          <p:spPr bwMode="auto">
            <a:xfrm>
              <a:off x="11795125" y="4672013"/>
              <a:ext cx="11210" cy="1612448"/>
            </a:xfrm>
            <a:prstGeom prst="line">
              <a:avLst/>
            </a:prstGeom>
            <a:noFill/>
            <a:ln w="15875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348" name="Text Box 85"/>
            <p:cNvSpPr txBox="1">
              <a:spLocks noChangeArrowheads="1"/>
            </p:cNvSpPr>
            <p:nvPr/>
          </p:nvSpPr>
          <p:spPr bwMode="auto">
            <a:xfrm>
              <a:off x="4217987" y="5714673"/>
              <a:ext cx="619125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 smtClean="0">
                  <a:solidFill>
                    <a:schemeClr val="bg1"/>
                  </a:solidFill>
                </a:rPr>
                <a:t>PLC</a:t>
              </a: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349" name="Text Box 86"/>
            <p:cNvSpPr txBox="1">
              <a:spLocks noChangeArrowheads="1"/>
            </p:cNvSpPr>
            <p:nvPr/>
          </p:nvSpPr>
          <p:spPr bwMode="auto">
            <a:xfrm>
              <a:off x="4944733" y="5711663"/>
              <a:ext cx="620712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RTU</a:t>
              </a:r>
            </a:p>
          </p:txBody>
        </p:sp>
        <p:sp>
          <p:nvSpPr>
            <p:cNvPr id="350" name="Text Box 87"/>
            <p:cNvSpPr txBox="1">
              <a:spLocks noChangeArrowheads="1"/>
            </p:cNvSpPr>
            <p:nvPr/>
          </p:nvSpPr>
          <p:spPr bwMode="auto">
            <a:xfrm>
              <a:off x="5661024" y="5720694"/>
              <a:ext cx="620714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S7</a:t>
              </a:r>
            </a:p>
          </p:txBody>
        </p:sp>
        <p:sp>
          <p:nvSpPr>
            <p:cNvPr id="351" name="Text Box 88"/>
            <p:cNvSpPr txBox="1">
              <a:spLocks noChangeArrowheads="1"/>
            </p:cNvSpPr>
            <p:nvPr/>
          </p:nvSpPr>
          <p:spPr bwMode="auto">
            <a:xfrm>
              <a:off x="6782399" y="6314928"/>
              <a:ext cx="620712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S7</a:t>
              </a:r>
            </a:p>
          </p:txBody>
        </p:sp>
        <p:sp>
          <p:nvSpPr>
            <p:cNvPr id="352" name="Text Box 89"/>
            <p:cNvSpPr txBox="1">
              <a:spLocks noChangeArrowheads="1"/>
            </p:cNvSpPr>
            <p:nvPr/>
          </p:nvSpPr>
          <p:spPr bwMode="auto">
            <a:xfrm>
              <a:off x="6042025" y="6318268"/>
              <a:ext cx="620714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RTU</a:t>
              </a:r>
            </a:p>
          </p:txBody>
        </p:sp>
        <p:sp>
          <p:nvSpPr>
            <p:cNvPr id="353" name="Text Box 90"/>
            <p:cNvSpPr txBox="1">
              <a:spLocks noChangeArrowheads="1"/>
            </p:cNvSpPr>
            <p:nvPr/>
          </p:nvSpPr>
          <p:spPr bwMode="auto">
            <a:xfrm>
              <a:off x="5336351" y="6319855"/>
              <a:ext cx="620714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AS</a:t>
              </a:r>
            </a:p>
          </p:txBody>
        </p:sp>
        <p:sp>
          <p:nvSpPr>
            <p:cNvPr id="354" name="Text Box 91"/>
            <p:cNvSpPr txBox="1">
              <a:spLocks noChangeArrowheads="1"/>
            </p:cNvSpPr>
            <p:nvPr/>
          </p:nvSpPr>
          <p:spPr bwMode="auto">
            <a:xfrm>
              <a:off x="7427583" y="5579134"/>
              <a:ext cx="619125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AS</a:t>
              </a:r>
            </a:p>
          </p:txBody>
        </p:sp>
        <p:sp>
          <p:nvSpPr>
            <p:cNvPr id="355" name="Text Box 92"/>
            <p:cNvSpPr txBox="1">
              <a:spLocks noChangeArrowheads="1"/>
            </p:cNvSpPr>
            <p:nvPr/>
          </p:nvSpPr>
          <p:spPr bwMode="auto">
            <a:xfrm>
              <a:off x="8348663" y="5575630"/>
              <a:ext cx="619125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 smtClean="0">
                  <a:solidFill>
                    <a:schemeClr val="bg1"/>
                  </a:solidFill>
                </a:rPr>
                <a:t>PLC</a:t>
              </a: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356" name="Text Box 93"/>
            <p:cNvSpPr txBox="1">
              <a:spLocks noChangeArrowheads="1"/>
            </p:cNvSpPr>
            <p:nvPr/>
          </p:nvSpPr>
          <p:spPr bwMode="auto">
            <a:xfrm>
              <a:off x="9104911" y="5574207"/>
              <a:ext cx="620714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S7</a:t>
              </a:r>
            </a:p>
          </p:txBody>
        </p:sp>
        <p:sp>
          <p:nvSpPr>
            <p:cNvPr id="357" name="Text Box 94"/>
            <p:cNvSpPr txBox="1">
              <a:spLocks noChangeArrowheads="1"/>
            </p:cNvSpPr>
            <p:nvPr/>
          </p:nvSpPr>
          <p:spPr bwMode="auto">
            <a:xfrm>
              <a:off x="9815678" y="5578805"/>
              <a:ext cx="620712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 smtClean="0">
                  <a:solidFill>
                    <a:schemeClr val="bg1"/>
                  </a:solidFill>
                </a:rPr>
                <a:t>PLC</a:t>
              </a: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359" name="Text Box 96"/>
            <p:cNvSpPr txBox="1">
              <a:spLocks noChangeArrowheads="1"/>
            </p:cNvSpPr>
            <p:nvPr/>
          </p:nvSpPr>
          <p:spPr bwMode="auto">
            <a:xfrm>
              <a:off x="10055225" y="6312890"/>
              <a:ext cx="619125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 smtClean="0">
                  <a:solidFill>
                    <a:schemeClr val="bg1"/>
                  </a:solidFill>
                </a:rPr>
                <a:t>PLC</a:t>
              </a:r>
              <a:endParaRPr lang="en-US" sz="900" b="1" dirty="0">
                <a:solidFill>
                  <a:schemeClr val="bg1"/>
                </a:solidFill>
              </a:endParaRPr>
            </a:p>
          </p:txBody>
        </p:sp>
        <p:sp>
          <p:nvSpPr>
            <p:cNvPr id="360" name="Text Box 97"/>
            <p:cNvSpPr txBox="1">
              <a:spLocks noChangeArrowheads="1"/>
            </p:cNvSpPr>
            <p:nvPr/>
          </p:nvSpPr>
          <p:spPr bwMode="auto">
            <a:xfrm>
              <a:off x="10774363" y="6314313"/>
              <a:ext cx="620712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RTU</a:t>
              </a:r>
            </a:p>
          </p:txBody>
        </p:sp>
        <p:sp>
          <p:nvSpPr>
            <p:cNvPr id="361" name="Text Box 98"/>
            <p:cNvSpPr txBox="1">
              <a:spLocks noChangeArrowheads="1"/>
            </p:cNvSpPr>
            <p:nvPr/>
          </p:nvSpPr>
          <p:spPr bwMode="auto">
            <a:xfrm>
              <a:off x="11504119" y="6311138"/>
              <a:ext cx="620712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S7</a:t>
              </a:r>
            </a:p>
          </p:txBody>
        </p:sp>
        <p:pic>
          <p:nvPicPr>
            <p:cNvPr id="363" name="Picture 106" descr="tower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7440613" y="2366963"/>
              <a:ext cx="479425" cy="623887"/>
            </a:xfrm>
            <a:prstGeom prst="rect">
              <a:avLst/>
            </a:prstGeom>
            <a:noFill/>
          </p:spPr>
        </p:pic>
        <p:pic>
          <p:nvPicPr>
            <p:cNvPr id="364" name="Picture 107" descr="tower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7270750" y="2465388"/>
              <a:ext cx="481013" cy="623887"/>
            </a:xfrm>
            <a:prstGeom prst="rect">
              <a:avLst/>
            </a:prstGeom>
            <a:noFill/>
          </p:spPr>
        </p:pic>
        <p:sp>
          <p:nvSpPr>
            <p:cNvPr id="365" name="Text Box 108"/>
            <p:cNvSpPr txBox="1">
              <a:spLocks noChangeArrowheads="1"/>
            </p:cNvSpPr>
            <p:nvPr/>
          </p:nvSpPr>
          <p:spPr bwMode="auto">
            <a:xfrm>
              <a:off x="10975975" y="4268788"/>
              <a:ext cx="503238" cy="2564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WinCC OA</a:t>
              </a:r>
            </a:p>
          </p:txBody>
        </p:sp>
        <p:sp>
          <p:nvSpPr>
            <p:cNvPr id="366" name="Text Box 109"/>
            <p:cNvSpPr txBox="1">
              <a:spLocks noChangeArrowheads="1"/>
            </p:cNvSpPr>
            <p:nvPr/>
          </p:nvSpPr>
          <p:spPr bwMode="auto">
            <a:xfrm>
              <a:off x="6604000" y="2647950"/>
              <a:ext cx="503238" cy="2564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</a:rPr>
                <a:t>WinCC OA</a:t>
              </a:r>
            </a:p>
          </p:txBody>
        </p:sp>
        <p:pic>
          <p:nvPicPr>
            <p:cNvPr id="267" name="Picture 4" descr="3rd_party_plc"/>
            <p:cNvPicPr>
              <a:picLocks noChangeAspect="1" noChangeArrowheads="1"/>
            </p:cNvPicPr>
            <p:nvPr/>
          </p:nvPicPr>
          <p:blipFill>
            <a:blip r:embed="rId8" cstate="email"/>
            <a:srcRect/>
            <a:stretch>
              <a:fillRect/>
            </a:stretch>
          </p:blipFill>
          <p:spPr bwMode="auto">
            <a:xfrm>
              <a:off x="10592567" y="5543550"/>
              <a:ext cx="590550" cy="215900"/>
            </a:xfrm>
            <a:prstGeom prst="rect">
              <a:avLst/>
            </a:prstGeom>
            <a:noFill/>
          </p:spPr>
        </p:pic>
        <p:sp>
          <p:nvSpPr>
            <p:cNvPr id="358" name="Text Box 95"/>
            <p:cNvSpPr txBox="1">
              <a:spLocks noChangeArrowheads="1"/>
            </p:cNvSpPr>
            <p:nvPr/>
          </p:nvSpPr>
          <p:spPr bwMode="auto">
            <a:xfrm>
              <a:off x="10573092" y="5577053"/>
              <a:ext cx="620714" cy="144265"/>
            </a:xfrm>
            <a:prstGeom prst="rect">
              <a:avLst/>
            </a:prstGeom>
            <a:noFill/>
            <a:ln w="1587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0"/>
                </a:spcBef>
                <a:buClrTx/>
              </a:pPr>
              <a:r>
                <a:rPr lang="en-US" sz="900" b="1" dirty="0">
                  <a:solidFill>
                    <a:schemeClr val="bg1"/>
                  </a:solidFill>
                </a:rPr>
                <a:t>RTU</a:t>
              </a:r>
            </a:p>
          </p:txBody>
        </p:sp>
        <p:pic>
          <p:nvPicPr>
            <p:cNvPr id="289" name="Picture 26" descr="tower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9344025" y="2928938"/>
              <a:ext cx="260350" cy="338137"/>
            </a:xfrm>
            <a:prstGeom prst="rect">
              <a:avLst/>
            </a:prstGeom>
            <a:noFill/>
          </p:spPr>
        </p:pic>
        <p:pic>
          <p:nvPicPr>
            <p:cNvPr id="288" name="Picture 25" descr="tower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9055100" y="2713038"/>
              <a:ext cx="260350" cy="338137"/>
            </a:xfrm>
            <a:prstGeom prst="rect">
              <a:avLst/>
            </a:prstGeom>
            <a:noFill/>
          </p:spPr>
        </p:pic>
      </p:grpSp>
      <p:sp>
        <p:nvSpPr>
          <p:cNvPr id="102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WinCC Open Architecture (OA)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3" name="Picture 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10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10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107" name="Rectangle 3"/>
          <p:cNvSpPr txBox="1">
            <a:spLocks noChangeArrowheads="1"/>
          </p:cNvSpPr>
          <p:nvPr/>
        </p:nvSpPr>
        <p:spPr>
          <a:xfrm>
            <a:off x="107504" y="1340768"/>
            <a:ext cx="33123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 marL="342900" marR="0" lvl="1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tabLst/>
              <a:defRPr/>
            </a:pP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erfect for large scale applications</a:t>
            </a:r>
          </a:p>
          <a:p>
            <a:pPr marL="742950" lvl="1" indent="-285750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or big and/or complex system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or geographically wide distributed pla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reely scalable and expandable</a:t>
            </a:r>
          </a:p>
          <a:p>
            <a:pPr marL="742950" lvl="1" indent="-285750"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</a:rPr>
              <a:t>for supervisory layer</a:t>
            </a:r>
            <a:endParaRPr lang="de-DE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pports redundancy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for the highest security requiremen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e only SCADA system with SIL 3-certificatio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2400" b="0" i="0" u="none" strike="noStrike" kern="1200" cap="none" spc="0" normalizeH="0" baseline="0" noProof="0" dirty="0" smtClean="0">
              <a:ln>
                <a:noFill/>
              </a:ln>
              <a:solidFill>
                <a:srgbClr val="222268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1" indent="-34290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Pct val="150000"/>
              <a:buFont typeface="Arial" panose="020B0604020202020204" pitchFamily="34" charset="0"/>
              <a:buChar char="›"/>
              <a:tabLst/>
              <a:defRPr/>
            </a:pPr>
            <a:r>
              <a:rPr kumimoji="0" lang="de-DE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upports &gt; 10,000,000 </a:t>
            </a:r>
            <a:r>
              <a:rPr kumimoji="0" lang="de-DE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data</a:t>
            </a:r>
            <a:r>
              <a:rPr kumimoji="0" lang="de-DE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de-DE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oints</a:t>
            </a:r>
            <a:endParaRPr kumimoji="0" lang="de-DE" sz="2000" b="1" i="0" u="none" strike="noStrike" kern="1200" cap="none" spc="0" normalizeH="0" baseline="0" noProof="0" dirty="0" smtClean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>
                  <a:lumMod val="50000"/>
                </a:schemeClr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222268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1996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WinCC OA Manager Concept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10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10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4</a:t>
            </a:fld>
            <a:endParaRPr lang="en-GB"/>
          </a:p>
        </p:txBody>
      </p:sp>
      <p:grpSp>
        <p:nvGrpSpPr>
          <p:cNvPr id="42" name="Gruppieren 41"/>
          <p:cNvGrpSpPr/>
          <p:nvPr/>
        </p:nvGrpSpPr>
        <p:grpSpPr>
          <a:xfrm>
            <a:off x="323528" y="1573213"/>
            <a:ext cx="8712967" cy="4540250"/>
            <a:chOff x="171450" y="1573213"/>
            <a:chExt cx="8864837" cy="4540250"/>
          </a:xfrm>
        </p:grpSpPr>
        <p:sp>
          <p:nvSpPr>
            <p:cNvPr id="43" name="Rectangle 2"/>
            <p:cNvSpPr>
              <a:spLocks noChangeArrowheads="1"/>
            </p:cNvSpPr>
            <p:nvPr/>
          </p:nvSpPr>
          <p:spPr bwMode="auto">
            <a:xfrm>
              <a:off x="173038" y="1573213"/>
              <a:ext cx="8789987" cy="1127125"/>
            </a:xfrm>
            <a:prstGeom prst="rect">
              <a:avLst/>
            </a:prstGeom>
            <a:solidFill>
              <a:srgbClr val="919191">
                <a:alpha val="39999"/>
              </a:srgbClr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4" name="Rectangle 3"/>
            <p:cNvSpPr>
              <a:spLocks noChangeArrowheads="1"/>
            </p:cNvSpPr>
            <p:nvPr/>
          </p:nvSpPr>
          <p:spPr bwMode="auto">
            <a:xfrm>
              <a:off x="174625" y="2701925"/>
              <a:ext cx="8785225" cy="1139825"/>
            </a:xfrm>
            <a:prstGeom prst="rect">
              <a:avLst/>
            </a:prstGeom>
            <a:solidFill>
              <a:srgbClr val="F7F7F7">
                <a:alpha val="79999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5" name="Rectangle 4"/>
            <p:cNvSpPr>
              <a:spLocks noChangeArrowheads="1"/>
            </p:cNvSpPr>
            <p:nvPr/>
          </p:nvSpPr>
          <p:spPr bwMode="auto">
            <a:xfrm>
              <a:off x="171450" y="3849688"/>
              <a:ext cx="8789988" cy="1127125"/>
            </a:xfrm>
            <a:prstGeom prst="rect">
              <a:avLst/>
            </a:prstGeom>
            <a:solidFill>
              <a:srgbClr val="919191">
                <a:alpha val="39999"/>
              </a:srgbClr>
            </a:solidFill>
            <a:ln w="12700">
              <a:solidFill>
                <a:srgbClr val="91919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6" name="Rectangle 5"/>
            <p:cNvSpPr>
              <a:spLocks noChangeArrowheads="1"/>
            </p:cNvSpPr>
            <p:nvPr/>
          </p:nvSpPr>
          <p:spPr bwMode="auto">
            <a:xfrm>
              <a:off x="174625" y="4973638"/>
              <a:ext cx="8783638" cy="1139825"/>
            </a:xfrm>
            <a:prstGeom prst="rect">
              <a:avLst/>
            </a:prstGeom>
            <a:solidFill>
              <a:srgbClr val="F7F7F7">
                <a:alpha val="79999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7" name="Rectangle 6"/>
            <p:cNvSpPr>
              <a:spLocks noChangeArrowheads="1"/>
            </p:cNvSpPr>
            <p:nvPr/>
          </p:nvSpPr>
          <p:spPr bwMode="auto">
            <a:xfrm>
              <a:off x="6681139" y="1973263"/>
              <a:ext cx="2303219" cy="3847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user</a:t>
              </a:r>
              <a:r>
                <a:rPr lang="de-DE" sz="19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interface</a:t>
              </a:r>
              <a:r>
                <a:rPr lang="de-DE" sz="19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layer</a:t>
              </a:r>
              <a:endParaRPr lang="de-DE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48" name="Rectangle 7"/>
            <p:cNvSpPr>
              <a:spLocks noChangeArrowheads="1"/>
            </p:cNvSpPr>
            <p:nvPr/>
          </p:nvSpPr>
          <p:spPr bwMode="auto">
            <a:xfrm>
              <a:off x="6681139" y="3121025"/>
              <a:ext cx="1999864" cy="3847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processing</a:t>
              </a:r>
              <a:r>
                <a:rPr lang="de-DE" sz="19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layer</a:t>
              </a:r>
              <a:endParaRPr lang="de-DE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49" name="Rectangle 8"/>
            <p:cNvSpPr>
              <a:spLocks noChangeArrowheads="1"/>
            </p:cNvSpPr>
            <p:nvPr/>
          </p:nvSpPr>
          <p:spPr bwMode="auto">
            <a:xfrm>
              <a:off x="6690664" y="5340350"/>
              <a:ext cx="1419248" cy="3847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driver</a:t>
              </a:r>
              <a:r>
                <a:rPr lang="de-DE" sz="19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layer</a:t>
              </a:r>
              <a:endParaRPr lang="de-DE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50" name="Oval 9"/>
            <p:cNvSpPr>
              <a:spLocks noChangeArrowheads="1"/>
            </p:cNvSpPr>
            <p:nvPr/>
          </p:nvSpPr>
          <p:spPr bwMode="auto">
            <a:xfrm>
              <a:off x="1160463" y="2908300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1" name="Rectangle 10"/>
            <p:cNvSpPr>
              <a:spLocks noChangeArrowheads="1"/>
            </p:cNvSpPr>
            <p:nvPr/>
          </p:nvSpPr>
          <p:spPr bwMode="auto">
            <a:xfrm>
              <a:off x="1230313" y="3108325"/>
              <a:ext cx="620712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 dirty="0" err="1">
                  <a:solidFill>
                    <a:schemeClr val="bg2"/>
                  </a:solidFill>
                </a:rPr>
                <a:t>Ctrl</a:t>
              </a:r>
              <a:endParaRPr lang="de-DE" sz="2000" b="1" dirty="0">
                <a:solidFill>
                  <a:schemeClr val="bg2"/>
                </a:solidFill>
              </a:endParaRPr>
            </a:p>
          </p:txBody>
        </p:sp>
        <p:sp>
          <p:nvSpPr>
            <p:cNvPr id="52" name="Oval 11"/>
            <p:cNvSpPr>
              <a:spLocks noChangeArrowheads="1"/>
            </p:cNvSpPr>
            <p:nvPr/>
          </p:nvSpPr>
          <p:spPr bwMode="auto">
            <a:xfrm>
              <a:off x="4276725" y="2908300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4373563" y="3108325"/>
              <a:ext cx="608012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API</a:t>
              </a:r>
            </a:p>
          </p:txBody>
        </p:sp>
        <p:sp>
          <p:nvSpPr>
            <p:cNvPr id="54" name="Oval 13"/>
            <p:cNvSpPr>
              <a:spLocks noChangeArrowheads="1"/>
            </p:cNvSpPr>
            <p:nvPr/>
          </p:nvSpPr>
          <p:spPr bwMode="auto">
            <a:xfrm>
              <a:off x="2698750" y="3967163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2830513" y="4173538"/>
              <a:ext cx="523875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EV</a:t>
              </a:r>
            </a:p>
          </p:txBody>
        </p:sp>
        <p:sp>
          <p:nvSpPr>
            <p:cNvPr id="56" name="Oval 15"/>
            <p:cNvSpPr>
              <a:spLocks noChangeArrowheads="1"/>
            </p:cNvSpPr>
            <p:nvPr/>
          </p:nvSpPr>
          <p:spPr bwMode="auto">
            <a:xfrm>
              <a:off x="2695575" y="5275263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7" name="Rectangle 16"/>
            <p:cNvSpPr>
              <a:spLocks noChangeArrowheads="1"/>
            </p:cNvSpPr>
            <p:nvPr/>
          </p:nvSpPr>
          <p:spPr bwMode="auto">
            <a:xfrm>
              <a:off x="2906713" y="5484813"/>
              <a:ext cx="368300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D</a:t>
              </a:r>
            </a:p>
          </p:txBody>
        </p:sp>
        <p:sp>
          <p:nvSpPr>
            <p:cNvPr id="58" name="Oval 17"/>
            <p:cNvSpPr>
              <a:spLocks noChangeArrowheads="1"/>
            </p:cNvSpPr>
            <p:nvPr/>
          </p:nvSpPr>
          <p:spPr bwMode="auto">
            <a:xfrm>
              <a:off x="4184650" y="5275263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59" name="Rectangle 18"/>
            <p:cNvSpPr>
              <a:spLocks noChangeArrowheads="1"/>
            </p:cNvSpPr>
            <p:nvPr/>
          </p:nvSpPr>
          <p:spPr bwMode="auto">
            <a:xfrm>
              <a:off x="4395788" y="5495925"/>
              <a:ext cx="368300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D</a:t>
              </a:r>
            </a:p>
          </p:txBody>
        </p:sp>
        <p:sp>
          <p:nvSpPr>
            <p:cNvPr id="60" name="Oval 19"/>
            <p:cNvSpPr>
              <a:spLocks noChangeArrowheads="1"/>
            </p:cNvSpPr>
            <p:nvPr/>
          </p:nvSpPr>
          <p:spPr bwMode="auto">
            <a:xfrm>
              <a:off x="1266825" y="5275263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1" name="Rectangle 20"/>
            <p:cNvSpPr>
              <a:spLocks noChangeArrowheads="1"/>
            </p:cNvSpPr>
            <p:nvPr/>
          </p:nvSpPr>
          <p:spPr bwMode="auto">
            <a:xfrm>
              <a:off x="1487488" y="5484813"/>
              <a:ext cx="368300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D</a:t>
              </a:r>
            </a:p>
          </p:txBody>
        </p:sp>
        <p:sp>
          <p:nvSpPr>
            <p:cNvPr id="62" name="Line 21"/>
            <p:cNvSpPr>
              <a:spLocks noChangeShapeType="1"/>
            </p:cNvSpPr>
            <p:nvPr/>
          </p:nvSpPr>
          <p:spPr bwMode="auto">
            <a:xfrm>
              <a:off x="3101975" y="2370138"/>
              <a:ext cx="0" cy="1582737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3" name="Line 22"/>
            <p:cNvSpPr>
              <a:spLocks noChangeShapeType="1"/>
            </p:cNvSpPr>
            <p:nvPr/>
          </p:nvSpPr>
          <p:spPr bwMode="auto">
            <a:xfrm flipH="1" flipV="1">
              <a:off x="2089150" y="2327275"/>
              <a:ext cx="1003300" cy="1633538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4" name="Oval 23"/>
            <p:cNvSpPr>
              <a:spLocks noChangeArrowheads="1"/>
            </p:cNvSpPr>
            <p:nvPr/>
          </p:nvSpPr>
          <p:spPr bwMode="auto">
            <a:xfrm>
              <a:off x="1498600" y="1749425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5" name="Rectangle 24"/>
            <p:cNvSpPr>
              <a:spLocks noChangeArrowheads="1"/>
            </p:cNvSpPr>
            <p:nvPr/>
          </p:nvSpPr>
          <p:spPr bwMode="auto">
            <a:xfrm>
              <a:off x="1554163" y="1943100"/>
              <a:ext cx="649287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UIM</a:t>
              </a:r>
            </a:p>
          </p:txBody>
        </p:sp>
        <p:sp>
          <p:nvSpPr>
            <p:cNvPr id="66" name="Oval 25"/>
            <p:cNvSpPr>
              <a:spLocks noChangeArrowheads="1"/>
            </p:cNvSpPr>
            <p:nvPr/>
          </p:nvSpPr>
          <p:spPr bwMode="auto">
            <a:xfrm>
              <a:off x="2720975" y="1749425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67" name="Rectangle 26"/>
            <p:cNvSpPr>
              <a:spLocks noChangeArrowheads="1"/>
            </p:cNvSpPr>
            <p:nvPr/>
          </p:nvSpPr>
          <p:spPr bwMode="auto">
            <a:xfrm>
              <a:off x="2795588" y="1952625"/>
              <a:ext cx="649287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 dirty="0">
                  <a:solidFill>
                    <a:schemeClr val="bg2"/>
                  </a:solidFill>
                </a:rPr>
                <a:t>UIM</a:t>
              </a:r>
            </a:p>
          </p:txBody>
        </p:sp>
        <p:sp>
          <p:nvSpPr>
            <p:cNvPr id="68" name="Line 27"/>
            <p:cNvSpPr>
              <a:spLocks noChangeShapeType="1"/>
            </p:cNvSpPr>
            <p:nvPr/>
          </p:nvSpPr>
          <p:spPr bwMode="auto">
            <a:xfrm flipV="1">
              <a:off x="3101975" y="2327275"/>
              <a:ext cx="1028700" cy="1633538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69" name="Oval 28"/>
            <p:cNvSpPr>
              <a:spLocks noChangeArrowheads="1"/>
            </p:cNvSpPr>
            <p:nvPr/>
          </p:nvSpPr>
          <p:spPr bwMode="auto">
            <a:xfrm>
              <a:off x="3929063" y="1749425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0" name="Rectangle 29"/>
            <p:cNvSpPr>
              <a:spLocks noChangeArrowheads="1"/>
            </p:cNvSpPr>
            <p:nvPr/>
          </p:nvSpPr>
          <p:spPr bwMode="auto">
            <a:xfrm>
              <a:off x="4003675" y="1952625"/>
              <a:ext cx="649288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UIM</a:t>
              </a:r>
            </a:p>
          </p:txBody>
        </p:sp>
        <p:sp>
          <p:nvSpPr>
            <p:cNvPr id="71" name="Line 30"/>
            <p:cNvSpPr>
              <a:spLocks noChangeShapeType="1"/>
            </p:cNvSpPr>
            <p:nvPr/>
          </p:nvSpPr>
          <p:spPr bwMode="auto">
            <a:xfrm flipH="1" flipV="1">
              <a:off x="1944688" y="3332163"/>
              <a:ext cx="1157287" cy="620712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2" name="Line 31"/>
            <p:cNvSpPr>
              <a:spLocks noChangeShapeType="1"/>
            </p:cNvSpPr>
            <p:nvPr/>
          </p:nvSpPr>
          <p:spPr bwMode="auto">
            <a:xfrm flipV="1">
              <a:off x="3114675" y="3322638"/>
              <a:ext cx="1157288" cy="620712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3" name="Line 32"/>
            <p:cNvSpPr>
              <a:spLocks noChangeShapeType="1"/>
            </p:cNvSpPr>
            <p:nvPr/>
          </p:nvSpPr>
          <p:spPr bwMode="auto">
            <a:xfrm>
              <a:off x="3108325" y="4770438"/>
              <a:ext cx="1149350" cy="646112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4" name="Line 33"/>
            <p:cNvSpPr>
              <a:spLocks noChangeShapeType="1"/>
            </p:cNvSpPr>
            <p:nvPr/>
          </p:nvSpPr>
          <p:spPr bwMode="auto">
            <a:xfrm flipH="1">
              <a:off x="1952625" y="4760913"/>
              <a:ext cx="1149350" cy="646112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5" name="Line 34"/>
            <p:cNvSpPr>
              <a:spLocks noChangeShapeType="1"/>
            </p:cNvSpPr>
            <p:nvPr/>
          </p:nvSpPr>
          <p:spPr bwMode="auto">
            <a:xfrm>
              <a:off x="3092450" y="4768850"/>
              <a:ext cx="0" cy="501650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6" name="Oval 35"/>
            <p:cNvSpPr>
              <a:spLocks noChangeArrowheads="1"/>
            </p:cNvSpPr>
            <p:nvPr/>
          </p:nvSpPr>
          <p:spPr bwMode="auto">
            <a:xfrm>
              <a:off x="603250" y="3951288"/>
              <a:ext cx="777875" cy="777875"/>
            </a:xfrm>
            <a:prstGeom prst="ellipse">
              <a:avLst/>
            </a:prstGeom>
            <a:gradFill rotWithShape="1">
              <a:gsLst>
                <a:gs pos="0">
                  <a:srgbClr val="16495F"/>
                </a:gs>
                <a:gs pos="100000">
                  <a:srgbClr val="113748"/>
                </a:gs>
              </a:gsLst>
              <a:path path="shape">
                <a:fillToRect l="50000" t="50000" r="50000" b="50000"/>
              </a:path>
            </a:gradFill>
            <a:ln w="19050" algn="ctr">
              <a:solidFill>
                <a:srgbClr val="16496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7" name="Rectangle 36"/>
            <p:cNvSpPr>
              <a:spLocks noChangeArrowheads="1"/>
            </p:cNvSpPr>
            <p:nvPr/>
          </p:nvSpPr>
          <p:spPr bwMode="auto">
            <a:xfrm>
              <a:off x="700088" y="4151313"/>
              <a:ext cx="579437" cy="39687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2000" b="1">
                  <a:solidFill>
                    <a:schemeClr val="bg2"/>
                  </a:solidFill>
                </a:rPr>
                <a:t>DM</a:t>
              </a:r>
            </a:p>
          </p:txBody>
        </p:sp>
        <p:sp>
          <p:nvSpPr>
            <p:cNvPr id="78" name="Line 37"/>
            <p:cNvSpPr>
              <a:spLocks noChangeShapeType="1"/>
            </p:cNvSpPr>
            <p:nvPr/>
          </p:nvSpPr>
          <p:spPr bwMode="auto">
            <a:xfrm flipH="1">
              <a:off x="1392238" y="4376738"/>
              <a:ext cx="1300162" cy="0"/>
            </a:xfrm>
            <a:prstGeom prst="line">
              <a:avLst/>
            </a:prstGeom>
            <a:noFill/>
            <a:ln w="19050">
              <a:solidFill>
                <a:srgbClr val="164960"/>
              </a:solidFill>
              <a:round/>
              <a:headEnd type="none" w="sm" len="sm"/>
              <a:tailEnd type="none" w="sm" len="sm"/>
            </a:ln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9" name="Rectangle 38"/>
            <p:cNvSpPr>
              <a:spLocks noChangeArrowheads="1"/>
            </p:cNvSpPr>
            <p:nvPr/>
          </p:nvSpPr>
          <p:spPr bwMode="auto">
            <a:xfrm>
              <a:off x="6690664" y="4100513"/>
              <a:ext cx="2345623" cy="67710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communication</a:t>
              </a:r>
              <a:r>
                <a:rPr lang="de-DE" sz="19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and</a:t>
              </a:r>
              <a:endParaRPr lang="de-DE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memory</a:t>
              </a:r>
              <a:r>
                <a:rPr lang="de-DE" sz="19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 </a:t>
              </a:r>
              <a:r>
                <a:rPr lang="de-DE" sz="1900" dirty="0" err="1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layer</a:t>
              </a:r>
              <a:endParaRPr lang="de-DE" sz="19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68482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WinCC OA as Distributed System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10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10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83" name="AutoShape 107"/>
          <p:cNvSpPr>
            <a:spLocks noChangeArrowheads="1"/>
          </p:cNvSpPr>
          <p:nvPr/>
        </p:nvSpPr>
        <p:spPr bwMode="auto">
          <a:xfrm>
            <a:off x="2984500" y="1146175"/>
            <a:ext cx="5784850" cy="2909888"/>
          </a:xfrm>
          <a:prstGeom prst="roundRect">
            <a:avLst>
              <a:gd name="adj" fmla="val 16667"/>
            </a:avLst>
          </a:prstGeom>
          <a:solidFill>
            <a:srgbClr val="969696"/>
          </a:solidFill>
          <a:ln w="19050" cap="rnd">
            <a:solidFill>
              <a:schemeClr val="bg2"/>
            </a:solidFill>
            <a:prstDash val="sysDot"/>
            <a:round/>
            <a:headEnd/>
            <a:tailEnd/>
          </a:ln>
        </p:spPr>
        <p:txBody>
          <a:bodyPr wrap="none" tIns="0" bIns="720000"/>
          <a:lstStyle/>
          <a:p>
            <a:pPr defTabSz="762000"/>
            <a:r>
              <a:rPr lang="en-US" sz="1600" b="1" dirty="0">
                <a:solidFill>
                  <a:schemeClr val="bg1"/>
                </a:solidFill>
                <a:latin typeface="Arial" charset="0"/>
              </a:rPr>
              <a:t>System 3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84" name="Gruppieren 94"/>
          <p:cNvGrpSpPr>
            <a:grpSpLocks/>
          </p:cNvGrpSpPr>
          <p:nvPr/>
        </p:nvGrpSpPr>
        <p:grpSpPr bwMode="auto">
          <a:xfrm>
            <a:off x="161925" y="1187450"/>
            <a:ext cx="8767763" cy="5619750"/>
            <a:chOff x="161925" y="1187450"/>
            <a:chExt cx="8767763" cy="5619750"/>
          </a:xfrm>
        </p:grpSpPr>
        <p:sp>
          <p:nvSpPr>
            <p:cNvPr id="85" name="Line 48"/>
            <p:cNvSpPr>
              <a:spLocks noChangeShapeType="1"/>
            </p:cNvSpPr>
            <p:nvPr/>
          </p:nvSpPr>
          <p:spPr bwMode="auto">
            <a:xfrm flipH="1">
              <a:off x="2765425" y="2570163"/>
              <a:ext cx="4763" cy="158750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oval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AutoShape 45"/>
            <p:cNvSpPr>
              <a:spLocks noChangeArrowheads="1"/>
            </p:cNvSpPr>
            <p:nvPr/>
          </p:nvSpPr>
          <p:spPr bwMode="auto">
            <a:xfrm>
              <a:off x="161925" y="1201738"/>
              <a:ext cx="2387600" cy="2476500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 w="19050" cap="rnd">
              <a:solidFill>
                <a:schemeClr val="bg2"/>
              </a:solidFill>
              <a:prstDash val="sysDot"/>
              <a:round/>
              <a:headEnd/>
              <a:tailEnd/>
            </a:ln>
          </p:spPr>
          <p:txBody>
            <a:bodyPr wrap="none" tIns="0" bIns="720000"/>
            <a:lstStyle/>
            <a:p>
              <a:pPr defTabSz="762000"/>
              <a:r>
                <a:rPr lang="en-US" sz="1600" b="1" dirty="0" smtClean="0">
                  <a:solidFill>
                    <a:schemeClr val="bg1"/>
                  </a:solidFill>
                  <a:latin typeface="Arial" charset="0"/>
                </a:rPr>
                <a:t>System </a:t>
              </a:r>
              <a:r>
                <a:rPr lang="en-US" sz="1600" b="1" dirty="0">
                  <a:solidFill>
                    <a:schemeClr val="bg1"/>
                  </a:solidFill>
                  <a:latin typeface="Arial" charset="0"/>
                </a:rPr>
                <a:t>1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87" name="Line 46"/>
            <p:cNvSpPr>
              <a:spLocks noChangeShapeType="1"/>
            </p:cNvSpPr>
            <p:nvPr/>
          </p:nvSpPr>
          <p:spPr bwMode="auto">
            <a:xfrm flipV="1">
              <a:off x="1838325" y="1622425"/>
              <a:ext cx="0" cy="947738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Oval 47"/>
            <p:cNvSpPr>
              <a:spLocks noChangeArrowheads="1"/>
            </p:cNvSpPr>
            <p:nvPr/>
          </p:nvSpPr>
          <p:spPr bwMode="auto">
            <a:xfrm>
              <a:off x="1608138" y="1309688"/>
              <a:ext cx="469900" cy="468312"/>
            </a:xfrm>
            <a:prstGeom prst="ellipse">
              <a:avLst/>
            </a:prstGeom>
            <a:solidFill>
              <a:srgbClr val="16495F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>
                  <a:solidFill>
                    <a:schemeClr val="bg2"/>
                  </a:solidFill>
                  <a:latin typeface="Arial" charset="0"/>
                </a:rPr>
                <a:t>UI</a:t>
              </a:r>
            </a:p>
          </p:txBody>
        </p:sp>
        <p:sp>
          <p:nvSpPr>
            <p:cNvPr id="89" name="Line 50"/>
            <p:cNvSpPr>
              <a:spLocks noChangeShapeType="1"/>
            </p:cNvSpPr>
            <p:nvPr/>
          </p:nvSpPr>
          <p:spPr bwMode="auto">
            <a:xfrm flipV="1">
              <a:off x="925513" y="1895475"/>
              <a:ext cx="0" cy="67945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Line 51"/>
            <p:cNvSpPr>
              <a:spLocks noChangeShapeType="1"/>
            </p:cNvSpPr>
            <p:nvPr/>
          </p:nvSpPr>
          <p:spPr bwMode="auto">
            <a:xfrm flipV="1">
              <a:off x="522288" y="2427288"/>
              <a:ext cx="0" cy="147637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Oval 52"/>
            <p:cNvSpPr>
              <a:spLocks noChangeArrowheads="1"/>
            </p:cNvSpPr>
            <p:nvPr/>
          </p:nvSpPr>
          <p:spPr bwMode="auto">
            <a:xfrm flipH="1">
              <a:off x="711200" y="1587500"/>
              <a:ext cx="449263" cy="454025"/>
            </a:xfrm>
            <a:prstGeom prst="ellipse">
              <a:avLst/>
            </a:prstGeom>
            <a:solidFill>
              <a:srgbClr val="16495F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 dirty="0">
                  <a:solidFill>
                    <a:schemeClr val="bg2"/>
                  </a:solidFill>
                  <a:latin typeface="Arial" charset="0"/>
                </a:rPr>
                <a:t>Ctrl</a:t>
              </a:r>
              <a:endParaRPr lang="en-US" sz="1400" b="1" dirty="0">
                <a:solidFill>
                  <a:schemeClr val="bg2"/>
                </a:solidFill>
              </a:endParaRPr>
            </a:p>
          </p:txBody>
        </p:sp>
        <p:sp>
          <p:nvSpPr>
            <p:cNvPr id="92" name="Oval 53"/>
            <p:cNvSpPr>
              <a:spLocks noChangeArrowheads="1"/>
            </p:cNvSpPr>
            <p:nvPr/>
          </p:nvSpPr>
          <p:spPr bwMode="auto">
            <a:xfrm>
              <a:off x="288925" y="1965325"/>
              <a:ext cx="468313" cy="469900"/>
            </a:xfrm>
            <a:prstGeom prst="ellipse">
              <a:avLst/>
            </a:prstGeom>
            <a:solidFill>
              <a:srgbClr val="16495F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 dirty="0">
                  <a:solidFill>
                    <a:schemeClr val="bg2"/>
                  </a:solidFill>
                  <a:latin typeface="Arial" charset="0"/>
                </a:rPr>
                <a:t>DM</a:t>
              </a:r>
            </a:p>
          </p:txBody>
        </p:sp>
        <p:sp>
          <p:nvSpPr>
            <p:cNvPr id="93" name="Line 54"/>
            <p:cNvSpPr>
              <a:spLocks noChangeShapeType="1"/>
            </p:cNvSpPr>
            <p:nvPr/>
          </p:nvSpPr>
          <p:spPr bwMode="auto">
            <a:xfrm flipV="1">
              <a:off x="1468438" y="2414588"/>
              <a:ext cx="0" cy="16351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Oval 55"/>
            <p:cNvSpPr>
              <a:spLocks noChangeArrowheads="1"/>
            </p:cNvSpPr>
            <p:nvPr/>
          </p:nvSpPr>
          <p:spPr bwMode="auto">
            <a:xfrm>
              <a:off x="1236663" y="1971675"/>
              <a:ext cx="469900" cy="469900"/>
            </a:xfrm>
            <a:prstGeom prst="ellipse">
              <a:avLst/>
            </a:prstGeom>
            <a:solidFill>
              <a:srgbClr val="16495F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>
                  <a:solidFill>
                    <a:schemeClr val="bg2"/>
                  </a:solidFill>
                  <a:latin typeface="Arial" charset="0"/>
                </a:rPr>
                <a:t>EV</a:t>
              </a:r>
            </a:p>
          </p:txBody>
        </p:sp>
        <p:sp>
          <p:nvSpPr>
            <p:cNvPr id="95" name="Line 56"/>
            <p:cNvSpPr>
              <a:spLocks noChangeShapeType="1"/>
            </p:cNvSpPr>
            <p:nvPr/>
          </p:nvSpPr>
          <p:spPr bwMode="auto">
            <a:xfrm>
              <a:off x="1189038" y="2582863"/>
              <a:ext cx="0" cy="611187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Oval 57"/>
            <p:cNvSpPr>
              <a:spLocks noChangeArrowheads="1"/>
            </p:cNvSpPr>
            <p:nvPr/>
          </p:nvSpPr>
          <p:spPr bwMode="auto">
            <a:xfrm>
              <a:off x="954088" y="2946400"/>
              <a:ext cx="469900" cy="469900"/>
            </a:xfrm>
            <a:prstGeom prst="ellipse">
              <a:avLst/>
            </a:prstGeom>
            <a:solidFill>
              <a:srgbClr val="16495F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>
                  <a:solidFill>
                    <a:schemeClr val="bg2"/>
                  </a:solidFill>
                  <a:latin typeface="Arial" charset="0"/>
                </a:rPr>
                <a:t>T</a:t>
              </a:r>
            </a:p>
          </p:txBody>
        </p:sp>
        <p:sp>
          <p:nvSpPr>
            <p:cNvPr id="97" name="Line 58"/>
            <p:cNvSpPr>
              <a:spLocks noChangeShapeType="1"/>
            </p:cNvSpPr>
            <p:nvPr/>
          </p:nvSpPr>
          <p:spPr bwMode="auto">
            <a:xfrm>
              <a:off x="2162175" y="2592388"/>
              <a:ext cx="0" cy="37306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Oval 59"/>
            <p:cNvSpPr>
              <a:spLocks noChangeArrowheads="1"/>
            </p:cNvSpPr>
            <p:nvPr/>
          </p:nvSpPr>
          <p:spPr bwMode="auto">
            <a:xfrm>
              <a:off x="1928813" y="2933700"/>
              <a:ext cx="469900" cy="469900"/>
            </a:xfrm>
            <a:prstGeom prst="ellipse">
              <a:avLst/>
            </a:prstGeom>
            <a:solidFill>
              <a:srgbClr val="16495F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 dirty="0">
                  <a:solidFill>
                    <a:schemeClr val="bg2"/>
                  </a:solidFill>
                  <a:latin typeface="Arial" charset="0"/>
                </a:rPr>
                <a:t>Dist</a:t>
              </a:r>
            </a:p>
          </p:txBody>
        </p:sp>
        <p:sp>
          <p:nvSpPr>
            <p:cNvPr id="99" name="Line 49"/>
            <p:cNvSpPr>
              <a:spLocks noChangeShapeType="1"/>
            </p:cNvSpPr>
            <p:nvPr/>
          </p:nvSpPr>
          <p:spPr bwMode="auto">
            <a:xfrm>
              <a:off x="273050" y="2571750"/>
              <a:ext cx="249555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diamond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Line 61"/>
            <p:cNvSpPr>
              <a:spLocks noChangeShapeType="1"/>
            </p:cNvSpPr>
            <p:nvPr/>
          </p:nvSpPr>
          <p:spPr bwMode="auto">
            <a:xfrm>
              <a:off x="177800" y="4151313"/>
              <a:ext cx="8751888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diamond" w="med" len="med"/>
              <a:tailEnd type="diamond" w="med" len="med"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01" name="Group 150"/>
            <p:cNvGrpSpPr>
              <a:grpSpLocks/>
            </p:cNvGrpSpPr>
            <p:nvPr/>
          </p:nvGrpSpPr>
          <p:grpSpPr bwMode="auto">
            <a:xfrm>
              <a:off x="4687888" y="4364038"/>
              <a:ext cx="2387600" cy="2443162"/>
              <a:chOff x="2816" y="2611"/>
              <a:chExt cx="1504" cy="1539"/>
            </a:xfrm>
          </p:grpSpPr>
          <p:sp>
            <p:nvSpPr>
              <p:cNvPr id="171" name="AutoShape 64"/>
              <p:cNvSpPr>
                <a:spLocks noChangeArrowheads="1"/>
              </p:cNvSpPr>
              <p:nvPr/>
            </p:nvSpPr>
            <p:spPr bwMode="auto">
              <a:xfrm flipH="1">
                <a:off x="2816" y="2611"/>
                <a:ext cx="1504" cy="1539"/>
              </a:xfrm>
              <a:prstGeom prst="roundRect">
                <a:avLst>
                  <a:gd name="adj" fmla="val 16667"/>
                </a:avLst>
              </a:prstGeom>
              <a:solidFill>
                <a:srgbClr val="969696"/>
              </a:solidFill>
              <a:ln w="19050" cap="rnd">
                <a:solidFill>
                  <a:schemeClr val="bg2"/>
                </a:solidFill>
                <a:prstDash val="sysDot"/>
                <a:round/>
                <a:headEnd/>
                <a:tailEnd/>
              </a:ln>
            </p:spPr>
            <p:txBody>
              <a:bodyPr wrap="none" tIns="0" bIns="720000"/>
              <a:lstStyle/>
              <a:p>
                <a:pPr algn="r" defTabSz="762000"/>
                <a:r>
                  <a:rPr lang="en-US" sz="1600" b="1" dirty="0">
                    <a:solidFill>
                      <a:schemeClr val="bg1"/>
                    </a:solidFill>
                    <a:latin typeface="Arial" charset="0"/>
                  </a:rPr>
                  <a:t>System 2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2" name="Line 65"/>
              <p:cNvSpPr>
                <a:spLocks noChangeShapeType="1"/>
              </p:cNvSpPr>
              <p:nvPr/>
            </p:nvSpPr>
            <p:spPr bwMode="auto">
              <a:xfrm flipH="1" flipV="1">
                <a:off x="3264" y="2952"/>
                <a:ext cx="0" cy="597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3" name="Oval 66"/>
              <p:cNvSpPr>
                <a:spLocks noChangeArrowheads="1"/>
              </p:cNvSpPr>
              <p:nvPr/>
            </p:nvSpPr>
            <p:spPr bwMode="auto">
              <a:xfrm flipH="1">
                <a:off x="3113" y="2665"/>
                <a:ext cx="296" cy="295"/>
              </a:xfrm>
              <a:prstGeom prst="ellipse">
                <a:avLst/>
              </a:prstGeom>
              <a:solidFill>
                <a:srgbClr val="16495F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UI</a:t>
                </a:r>
              </a:p>
            </p:txBody>
          </p:sp>
          <p:sp>
            <p:nvSpPr>
              <p:cNvPr id="174" name="Line 67"/>
              <p:cNvSpPr>
                <a:spLocks noChangeShapeType="1"/>
              </p:cNvSpPr>
              <p:nvPr/>
            </p:nvSpPr>
            <p:spPr bwMode="auto">
              <a:xfrm flipH="1" flipV="1">
                <a:off x="3839" y="3124"/>
                <a:ext cx="0" cy="428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5" name="Line 68"/>
              <p:cNvSpPr>
                <a:spLocks noChangeShapeType="1"/>
              </p:cNvSpPr>
              <p:nvPr/>
            </p:nvSpPr>
            <p:spPr bwMode="auto">
              <a:xfrm flipH="1" flipV="1">
                <a:off x="4093" y="3459"/>
                <a:ext cx="0" cy="9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6" name="Oval 69"/>
              <p:cNvSpPr>
                <a:spLocks noChangeArrowheads="1"/>
              </p:cNvSpPr>
              <p:nvPr/>
            </p:nvSpPr>
            <p:spPr bwMode="auto">
              <a:xfrm>
                <a:off x="3691" y="2864"/>
                <a:ext cx="283" cy="28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Ctrl</a:t>
                </a:r>
              </a:p>
            </p:txBody>
          </p:sp>
          <p:sp>
            <p:nvSpPr>
              <p:cNvPr id="177" name="Oval 70"/>
              <p:cNvSpPr>
                <a:spLocks noChangeArrowheads="1"/>
              </p:cNvSpPr>
              <p:nvPr/>
            </p:nvSpPr>
            <p:spPr bwMode="auto">
              <a:xfrm flipH="1">
                <a:off x="3945" y="3168"/>
                <a:ext cx="295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DM</a:t>
                </a:r>
              </a:p>
            </p:txBody>
          </p:sp>
          <p:sp>
            <p:nvSpPr>
              <p:cNvPr id="178" name="Line 71"/>
              <p:cNvSpPr>
                <a:spLocks noChangeShapeType="1"/>
              </p:cNvSpPr>
              <p:nvPr/>
            </p:nvSpPr>
            <p:spPr bwMode="auto">
              <a:xfrm flipH="1" flipV="1">
                <a:off x="3497" y="3451"/>
                <a:ext cx="0" cy="10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9" name="Oval 72"/>
              <p:cNvSpPr>
                <a:spLocks noChangeArrowheads="1"/>
              </p:cNvSpPr>
              <p:nvPr/>
            </p:nvSpPr>
            <p:spPr bwMode="auto">
              <a:xfrm flipH="1">
                <a:off x="3347" y="3172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EV</a:t>
                </a:r>
              </a:p>
            </p:txBody>
          </p:sp>
          <p:sp>
            <p:nvSpPr>
              <p:cNvPr id="180" name="Line 73"/>
              <p:cNvSpPr>
                <a:spLocks noChangeShapeType="1"/>
              </p:cNvSpPr>
              <p:nvPr/>
            </p:nvSpPr>
            <p:spPr bwMode="auto">
              <a:xfrm flipH="1">
                <a:off x="3673" y="3557"/>
                <a:ext cx="0" cy="38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1" name="Oval 74"/>
              <p:cNvSpPr>
                <a:spLocks noChangeArrowheads="1"/>
              </p:cNvSpPr>
              <p:nvPr/>
            </p:nvSpPr>
            <p:spPr bwMode="auto">
              <a:xfrm flipH="1">
                <a:off x="3525" y="3776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T</a:t>
                </a:r>
              </a:p>
            </p:txBody>
          </p:sp>
          <p:sp>
            <p:nvSpPr>
              <p:cNvPr id="182" name="Line 75"/>
              <p:cNvSpPr>
                <a:spLocks noChangeShapeType="1"/>
              </p:cNvSpPr>
              <p:nvPr/>
            </p:nvSpPr>
            <p:spPr bwMode="auto">
              <a:xfrm flipH="1">
                <a:off x="3060" y="3563"/>
                <a:ext cx="0" cy="235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3" name="Oval 76"/>
              <p:cNvSpPr>
                <a:spLocks noChangeArrowheads="1"/>
              </p:cNvSpPr>
              <p:nvPr/>
            </p:nvSpPr>
            <p:spPr bwMode="auto">
              <a:xfrm flipH="1">
                <a:off x="2911" y="3778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Dist</a:t>
                </a:r>
              </a:p>
            </p:txBody>
          </p:sp>
        </p:grpSp>
        <p:sp>
          <p:nvSpPr>
            <p:cNvPr id="107" name="Line 77"/>
            <p:cNvSpPr>
              <a:spLocks noChangeShapeType="1"/>
            </p:cNvSpPr>
            <p:nvPr/>
          </p:nvSpPr>
          <p:spPr bwMode="auto">
            <a:xfrm>
              <a:off x="4473575" y="5861050"/>
              <a:ext cx="249555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diamond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Line 78"/>
            <p:cNvSpPr>
              <a:spLocks noChangeShapeType="1"/>
            </p:cNvSpPr>
            <p:nvPr/>
          </p:nvSpPr>
          <p:spPr bwMode="auto">
            <a:xfrm flipH="1">
              <a:off x="4486275" y="4160838"/>
              <a:ext cx="6350" cy="170815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09" name="Group 148"/>
            <p:cNvGrpSpPr>
              <a:grpSpLocks/>
            </p:cNvGrpSpPr>
            <p:nvPr/>
          </p:nvGrpSpPr>
          <p:grpSpPr bwMode="auto">
            <a:xfrm>
              <a:off x="6294438" y="1751013"/>
              <a:ext cx="2387600" cy="2032000"/>
              <a:chOff x="4097" y="953"/>
              <a:chExt cx="1504" cy="1280"/>
            </a:xfrm>
          </p:grpSpPr>
          <p:sp>
            <p:nvSpPr>
              <p:cNvPr id="158" name="AutoShape 80"/>
              <p:cNvSpPr>
                <a:spLocks noChangeArrowheads="1"/>
              </p:cNvSpPr>
              <p:nvPr/>
            </p:nvSpPr>
            <p:spPr bwMode="auto">
              <a:xfrm flipH="1">
                <a:off x="4097" y="953"/>
                <a:ext cx="1504" cy="1280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 cap="rnd">
                <a:solidFill>
                  <a:schemeClr val="bg2"/>
                </a:solidFill>
                <a:prstDash val="sysDot"/>
                <a:round/>
                <a:headEnd/>
                <a:tailEnd/>
              </a:ln>
            </p:spPr>
            <p:txBody>
              <a:bodyPr wrap="none" tIns="0" bIns="720000"/>
              <a:lstStyle/>
              <a:p>
                <a:pPr algn="r" defTabSz="762000"/>
                <a:endParaRPr lang="en-US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59" name="Line 83"/>
              <p:cNvSpPr>
                <a:spLocks noChangeShapeType="1"/>
              </p:cNvSpPr>
              <p:nvPr/>
            </p:nvSpPr>
            <p:spPr bwMode="auto">
              <a:xfrm flipH="1" flipV="1">
                <a:off x="5120" y="1239"/>
                <a:ext cx="0" cy="428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0" name="Line 84"/>
              <p:cNvSpPr>
                <a:spLocks noChangeShapeType="1"/>
              </p:cNvSpPr>
              <p:nvPr/>
            </p:nvSpPr>
            <p:spPr bwMode="auto">
              <a:xfrm flipH="1" flipV="1">
                <a:off x="5374" y="1574"/>
                <a:ext cx="0" cy="93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1" name="Oval 85"/>
              <p:cNvSpPr>
                <a:spLocks noChangeArrowheads="1"/>
              </p:cNvSpPr>
              <p:nvPr/>
            </p:nvSpPr>
            <p:spPr bwMode="auto">
              <a:xfrm>
                <a:off x="4972" y="979"/>
                <a:ext cx="283" cy="28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Ctrl</a:t>
                </a:r>
              </a:p>
            </p:txBody>
          </p:sp>
          <p:sp>
            <p:nvSpPr>
              <p:cNvPr id="162" name="Oval 86"/>
              <p:cNvSpPr>
                <a:spLocks noChangeArrowheads="1"/>
              </p:cNvSpPr>
              <p:nvPr/>
            </p:nvSpPr>
            <p:spPr bwMode="auto">
              <a:xfrm flipH="1">
                <a:off x="5226" y="1283"/>
                <a:ext cx="295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DM</a:t>
                </a:r>
              </a:p>
            </p:txBody>
          </p:sp>
          <p:sp>
            <p:nvSpPr>
              <p:cNvPr id="163" name="Line 87"/>
              <p:cNvSpPr>
                <a:spLocks noChangeShapeType="1"/>
              </p:cNvSpPr>
              <p:nvPr/>
            </p:nvSpPr>
            <p:spPr bwMode="auto">
              <a:xfrm flipH="1" flipV="1">
                <a:off x="4778" y="1566"/>
                <a:ext cx="0" cy="103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" name="Oval 88"/>
              <p:cNvSpPr>
                <a:spLocks noChangeArrowheads="1"/>
              </p:cNvSpPr>
              <p:nvPr/>
            </p:nvSpPr>
            <p:spPr bwMode="auto">
              <a:xfrm flipH="1">
                <a:off x="4628" y="1287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EV</a:t>
                </a:r>
              </a:p>
            </p:txBody>
          </p:sp>
          <p:sp>
            <p:nvSpPr>
              <p:cNvPr id="165" name="Line 89"/>
              <p:cNvSpPr>
                <a:spLocks noChangeShapeType="1"/>
              </p:cNvSpPr>
              <p:nvPr/>
            </p:nvSpPr>
            <p:spPr bwMode="auto">
              <a:xfrm flipH="1">
                <a:off x="4954" y="1672"/>
                <a:ext cx="0" cy="222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6" name="Oval 90"/>
              <p:cNvSpPr>
                <a:spLocks noChangeArrowheads="1"/>
              </p:cNvSpPr>
              <p:nvPr/>
            </p:nvSpPr>
            <p:spPr bwMode="auto">
              <a:xfrm flipH="1">
                <a:off x="4806" y="1891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T</a:t>
                </a:r>
              </a:p>
            </p:txBody>
          </p:sp>
          <p:sp>
            <p:nvSpPr>
              <p:cNvPr id="167" name="Line 91"/>
              <p:cNvSpPr>
                <a:spLocks noChangeShapeType="1"/>
              </p:cNvSpPr>
              <p:nvPr/>
            </p:nvSpPr>
            <p:spPr bwMode="auto">
              <a:xfrm flipH="1">
                <a:off x="4341" y="1678"/>
                <a:ext cx="0" cy="235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8" name="Oval 92"/>
              <p:cNvSpPr>
                <a:spLocks noChangeArrowheads="1"/>
              </p:cNvSpPr>
              <p:nvPr/>
            </p:nvSpPr>
            <p:spPr bwMode="auto">
              <a:xfrm flipH="1">
                <a:off x="4192" y="1893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Dist</a:t>
                </a:r>
              </a:p>
            </p:txBody>
          </p:sp>
          <p:sp>
            <p:nvSpPr>
              <p:cNvPr id="169" name="Line 115"/>
              <p:cNvSpPr>
                <a:spLocks noChangeShapeType="1"/>
              </p:cNvSpPr>
              <p:nvPr/>
            </p:nvSpPr>
            <p:spPr bwMode="auto">
              <a:xfrm flipH="1" flipV="1">
                <a:off x="4508" y="1230"/>
                <a:ext cx="0" cy="438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0" name="Oval 116"/>
              <p:cNvSpPr>
                <a:spLocks noChangeArrowheads="1"/>
              </p:cNvSpPr>
              <p:nvPr/>
            </p:nvSpPr>
            <p:spPr bwMode="auto">
              <a:xfrm flipH="1">
                <a:off x="4357" y="998"/>
                <a:ext cx="296" cy="295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Redu</a:t>
                </a:r>
              </a:p>
            </p:txBody>
          </p:sp>
        </p:grpSp>
        <p:sp>
          <p:nvSpPr>
            <p:cNvPr id="110" name="Line 111"/>
            <p:cNvSpPr>
              <a:spLocks noChangeShapeType="1"/>
            </p:cNvSpPr>
            <p:nvPr/>
          </p:nvSpPr>
          <p:spPr bwMode="auto">
            <a:xfrm>
              <a:off x="6129338" y="2881313"/>
              <a:ext cx="2387600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diamond" w="med" len="med"/>
            </a:ln>
          </p:spPr>
          <p:txBody>
            <a:bodyPr/>
            <a:lstStyle/>
            <a:p>
              <a:endParaRPr lang="de-DE"/>
            </a:p>
          </p:txBody>
        </p:sp>
        <p:grpSp>
          <p:nvGrpSpPr>
            <p:cNvPr id="111" name="Group 147"/>
            <p:cNvGrpSpPr>
              <a:grpSpLocks/>
            </p:cNvGrpSpPr>
            <p:nvPr/>
          </p:nvGrpSpPr>
          <p:grpSpPr bwMode="auto">
            <a:xfrm>
              <a:off x="3109913" y="1752600"/>
              <a:ext cx="2387600" cy="2032000"/>
              <a:chOff x="2091" y="954"/>
              <a:chExt cx="1504" cy="1280"/>
            </a:xfrm>
          </p:grpSpPr>
          <p:sp>
            <p:nvSpPr>
              <p:cNvPr id="145" name="AutoShape 120"/>
              <p:cNvSpPr>
                <a:spLocks noChangeArrowheads="1"/>
              </p:cNvSpPr>
              <p:nvPr/>
            </p:nvSpPr>
            <p:spPr bwMode="auto">
              <a:xfrm flipH="1">
                <a:off x="2091" y="954"/>
                <a:ext cx="1504" cy="1280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19050" cap="rnd">
                <a:solidFill>
                  <a:schemeClr val="bg2"/>
                </a:solidFill>
                <a:prstDash val="sysDot"/>
                <a:round/>
                <a:headEnd/>
                <a:tailEnd/>
              </a:ln>
            </p:spPr>
            <p:txBody>
              <a:bodyPr wrap="none" tIns="0" bIns="720000"/>
              <a:lstStyle/>
              <a:p>
                <a:pPr algn="r" defTabSz="762000"/>
                <a:endParaRPr lang="en-US" b="1">
                  <a:solidFill>
                    <a:schemeClr val="bg2"/>
                  </a:solidFill>
                </a:endParaRPr>
              </a:p>
            </p:txBody>
          </p:sp>
          <p:sp>
            <p:nvSpPr>
              <p:cNvPr id="146" name="Line 121"/>
              <p:cNvSpPr>
                <a:spLocks noChangeShapeType="1"/>
              </p:cNvSpPr>
              <p:nvPr/>
            </p:nvSpPr>
            <p:spPr bwMode="auto">
              <a:xfrm flipH="1" flipV="1">
                <a:off x="2572" y="1240"/>
                <a:ext cx="0" cy="428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7" name="Line 122"/>
              <p:cNvSpPr>
                <a:spLocks noChangeShapeType="1"/>
              </p:cNvSpPr>
              <p:nvPr/>
            </p:nvSpPr>
            <p:spPr bwMode="auto">
              <a:xfrm flipH="1" flipV="1">
                <a:off x="2318" y="1575"/>
                <a:ext cx="0" cy="93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8" name="Oval 123"/>
              <p:cNvSpPr>
                <a:spLocks noChangeArrowheads="1"/>
              </p:cNvSpPr>
              <p:nvPr/>
            </p:nvSpPr>
            <p:spPr bwMode="auto">
              <a:xfrm>
                <a:off x="2437" y="980"/>
                <a:ext cx="283" cy="28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Ctrl</a:t>
                </a:r>
              </a:p>
            </p:txBody>
          </p:sp>
          <p:sp>
            <p:nvSpPr>
              <p:cNvPr id="149" name="Oval 124"/>
              <p:cNvSpPr>
                <a:spLocks noChangeArrowheads="1"/>
              </p:cNvSpPr>
              <p:nvPr/>
            </p:nvSpPr>
            <p:spPr bwMode="auto">
              <a:xfrm flipH="1">
                <a:off x="2171" y="1284"/>
                <a:ext cx="295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DM</a:t>
                </a:r>
              </a:p>
            </p:txBody>
          </p:sp>
          <p:sp>
            <p:nvSpPr>
              <p:cNvPr id="150" name="Line 125"/>
              <p:cNvSpPr>
                <a:spLocks noChangeShapeType="1"/>
              </p:cNvSpPr>
              <p:nvPr/>
            </p:nvSpPr>
            <p:spPr bwMode="auto">
              <a:xfrm flipH="1" flipV="1">
                <a:off x="2914" y="1567"/>
                <a:ext cx="0" cy="103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1" name="Oval 126"/>
              <p:cNvSpPr>
                <a:spLocks noChangeArrowheads="1"/>
              </p:cNvSpPr>
              <p:nvPr/>
            </p:nvSpPr>
            <p:spPr bwMode="auto">
              <a:xfrm flipH="1">
                <a:off x="2768" y="1288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EV</a:t>
                </a:r>
              </a:p>
            </p:txBody>
          </p:sp>
          <p:sp>
            <p:nvSpPr>
              <p:cNvPr id="152" name="Line 127"/>
              <p:cNvSpPr>
                <a:spLocks noChangeShapeType="1"/>
              </p:cNvSpPr>
              <p:nvPr/>
            </p:nvSpPr>
            <p:spPr bwMode="auto">
              <a:xfrm flipH="1">
                <a:off x="2738" y="1673"/>
                <a:ext cx="0" cy="222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3" name="Oval 128"/>
              <p:cNvSpPr>
                <a:spLocks noChangeArrowheads="1"/>
              </p:cNvSpPr>
              <p:nvPr/>
            </p:nvSpPr>
            <p:spPr bwMode="auto">
              <a:xfrm flipH="1">
                <a:off x="2590" y="1892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T</a:t>
                </a:r>
              </a:p>
            </p:txBody>
          </p:sp>
          <p:sp>
            <p:nvSpPr>
              <p:cNvPr id="154" name="Line 129"/>
              <p:cNvSpPr>
                <a:spLocks noChangeShapeType="1"/>
              </p:cNvSpPr>
              <p:nvPr/>
            </p:nvSpPr>
            <p:spPr bwMode="auto">
              <a:xfrm flipH="1">
                <a:off x="3351" y="1679"/>
                <a:ext cx="0" cy="235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5" name="Oval 130"/>
              <p:cNvSpPr>
                <a:spLocks noChangeArrowheads="1"/>
              </p:cNvSpPr>
              <p:nvPr/>
            </p:nvSpPr>
            <p:spPr bwMode="auto">
              <a:xfrm flipH="1">
                <a:off x="3204" y="1894"/>
                <a:ext cx="296" cy="296"/>
              </a:xfrm>
              <a:prstGeom prst="ellipse">
                <a:avLst/>
              </a:prstGeom>
              <a:solidFill>
                <a:srgbClr val="16495F"/>
              </a:solidFill>
              <a:ln w="12700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Dist</a:t>
                </a:r>
              </a:p>
            </p:txBody>
          </p:sp>
          <p:sp>
            <p:nvSpPr>
              <p:cNvPr id="156" name="Line 131"/>
              <p:cNvSpPr>
                <a:spLocks noChangeShapeType="1"/>
              </p:cNvSpPr>
              <p:nvPr/>
            </p:nvSpPr>
            <p:spPr bwMode="auto">
              <a:xfrm flipH="1" flipV="1">
                <a:off x="3184" y="1231"/>
                <a:ext cx="0" cy="438"/>
              </a:xfrm>
              <a:prstGeom prst="line">
                <a:avLst/>
              </a:prstGeom>
              <a:noFill/>
              <a:ln w="22225">
                <a:solidFill>
                  <a:schemeClr val="tx1"/>
                </a:solidFill>
                <a:round/>
                <a:headEnd type="oval" w="med" len="med"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7" name="Oval 132"/>
              <p:cNvSpPr>
                <a:spLocks noChangeArrowheads="1"/>
              </p:cNvSpPr>
              <p:nvPr/>
            </p:nvSpPr>
            <p:spPr bwMode="auto">
              <a:xfrm flipH="1">
                <a:off x="3039" y="999"/>
                <a:ext cx="296" cy="295"/>
              </a:xfrm>
              <a:prstGeom prst="ellipse">
                <a:avLst/>
              </a:prstGeom>
              <a:solidFill>
                <a:srgbClr val="16495F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0" tIns="0" rIns="0" bIns="0" anchor="ctr" anchorCtr="1"/>
              <a:lstStyle/>
              <a:p>
                <a:pPr algn="ctr" defTabSz="762000"/>
                <a:r>
                  <a:rPr lang="en-US" sz="1400">
                    <a:solidFill>
                      <a:schemeClr val="bg2"/>
                    </a:solidFill>
                    <a:latin typeface="Arial" charset="0"/>
                  </a:rPr>
                  <a:t>Redu</a:t>
                </a:r>
              </a:p>
            </p:txBody>
          </p:sp>
        </p:grpSp>
        <p:sp>
          <p:nvSpPr>
            <p:cNvPr id="112" name="Line 110"/>
            <p:cNvSpPr>
              <a:spLocks noChangeShapeType="1"/>
            </p:cNvSpPr>
            <p:nvPr/>
          </p:nvSpPr>
          <p:spPr bwMode="auto">
            <a:xfrm>
              <a:off x="3248025" y="2892425"/>
              <a:ext cx="2416175" cy="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 type="diamond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AutoShape 134"/>
            <p:cNvSpPr>
              <a:spLocks noChangeArrowheads="1"/>
            </p:cNvSpPr>
            <p:nvPr/>
          </p:nvSpPr>
          <p:spPr bwMode="auto">
            <a:xfrm>
              <a:off x="5030788" y="1187450"/>
              <a:ext cx="1755775" cy="528638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 cap="rnd">
              <a:solidFill>
                <a:schemeClr val="bg2"/>
              </a:solidFill>
              <a:prstDash val="sysDot"/>
              <a:round/>
              <a:headEnd/>
              <a:tailEnd/>
            </a:ln>
          </p:spPr>
          <p:txBody>
            <a:bodyPr wrap="none" tIns="0" bIns="720000"/>
            <a:lstStyle/>
            <a:p>
              <a:pPr algn="r" defTabSz="762000"/>
              <a:endParaRPr lang="en-US" b="1">
                <a:solidFill>
                  <a:schemeClr val="bg2"/>
                </a:solidFill>
              </a:endParaRPr>
            </a:p>
          </p:txBody>
        </p:sp>
        <p:sp>
          <p:nvSpPr>
            <p:cNvPr id="114" name="Line 135"/>
            <p:cNvSpPr>
              <a:spLocks noChangeShapeType="1"/>
            </p:cNvSpPr>
            <p:nvPr/>
          </p:nvSpPr>
          <p:spPr bwMode="auto">
            <a:xfrm flipH="1">
              <a:off x="5649913" y="2897188"/>
              <a:ext cx="3175" cy="1258887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oval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Line 136"/>
            <p:cNvSpPr>
              <a:spLocks noChangeShapeType="1"/>
            </p:cNvSpPr>
            <p:nvPr/>
          </p:nvSpPr>
          <p:spPr bwMode="auto">
            <a:xfrm flipH="1">
              <a:off x="5900738" y="1566863"/>
              <a:ext cx="1587" cy="2584450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oval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Oval 82"/>
            <p:cNvSpPr>
              <a:spLocks noChangeArrowheads="1"/>
            </p:cNvSpPr>
            <p:nvPr/>
          </p:nvSpPr>
          <p:spPr bwMode="auto">
            <a:xfrm flipH="1">
              <a:off x="5668963" y="1216025"/>
              <a:ext cx="469900" cy="468313"/>
            </a:xfrm>
            <a:prstGeom prst="ellipse">
              <a:avLst/>
            </a:prstGeom>
            <a:solidFill>
              <a:srgbClr val="16495F"/>
            </a:solidFill>
            <a:ln w="12700" algn="ctr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en-US" sz="1400">
                  <a:solidFill>
                    <a:schemeClr val="bg2"/>
                  </a:solidFill>
                  <a:latin typeface="Arial" charset="0"/>
                </a:rPr>
                <a:t>UI</a:t>
              </a:r>
            </a:p>
          </p:txBody>
        </p:sp>
        <p:sp>
          <p:nvSpPr>
            <p:cNvPr id="117" name="Line 151"/>
            <p:cNvSpPr>
              <a:spLocks noChangeShapeType="1"/>
            </p:cNvSpPr>
            <p:nvPr/>
          </p:nvSpPr>
          <p:spPr bwMode="auto">
            <a:xfrm flipH="1">
              <a:off x="6127750" y="2881313"/>
              <a:ext cx="3175" cy="1268412"/>
            </a:xfrm>
            <a:prstGeom prst="line">
              <a:avLst/>
            </a:prstGeom>
            <a:noFill/>
            <a:ln w="22225">
              <a:solidFill>
                <a:schemeClr val="tx1"/>
              </a:solidFill>
              <a:round/>
              <a:headEnd/>
              <a:tailEnd type="oval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Line 152"/>
            <p:cNvSpPr>
              <a:spLocks noChangeShapeType="1"/>
            </p:cNvSpPr>
            <p:nvPr/>
          </p:nvSpPr>
          <p:spPr bwMode="auto">
            <a:xfrm>
              <a:off x="598488" y="5672138"/>
              <a:ext cx="488950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AutoShape 153"/>
            <p:cNvSpPr>
              <a:spLocks noChangeArrowheads="1"/>
            </p:cNvSpPr>
            <p:nvPr/>
          </p:nvSpPr>
          <p:spPr bwMode="auto">
            <a:xfrm>
              <a:off x="601663" y="4897438"/>
              <a:ext cx="500062" cy="225425"/>
            </a:xfrm>
            <a:prstGeom prst="roundRect">
              <a:avLst>
                <a:gd name="adj" fmla="val 16667"/>
              </a:avLst>
            </a:prstGeom>
            <a:solidFill>
              <a:srgbClr val="969696"/>
            </a:solidFill>
            <a:ln w="19050" cap="rnd">
              <a:solidFill>
                <a:schemeClr val="bg2"/>
              </a:solidFill>
              <a:prstDash val="sysDot"/>
              <a:round/>
              <a:headEnd/>
              <a:tailEnd/>
            </a:ln>
          </p:spPr>
          <p:txBody>
            <a:bodyPr wrap="none" tIns="0" bIns="720000"/>
            <a:lstStyle/>
            <a:p>
              <a:pPr defTabSz="762000"/>
              <a:endParaRPr lang="en-US" sz="900" b="1">
                <a:solidFill>
                  <a:schemeClr val="bg2"/>
                </a:solidFill>
              </a:endParaRPr>
            </a:p>
          </p:txBody>
        </p:sp>
        <p:sp>
          <p:nvSpPr>
            <p:cNvPr id="120" name="Text Box 154"/>
            <p:cNvSpPr txBox="1">
              <a:spLocks noChangeArrowheads="1"/>
            </p:cNvSpPr>
            <p:nvPr/>
          </p:nvSpPr>
          <p:spPr bwMode="auto">
            <a:xfrm>
              <a:off x="1243013" y="4718050"/>
              <a:ext cx="2159000" cy="581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600" b="1" dirty="0">
                  <a:solidFill>
                    <a:srgbClr val="164960"/>
                  </a:solidFill>
                  <a:latin typeface="Arial" charset="0"/>
                </a:rPr>
                <a:t>System- or </a:t>
              </a:r>
              <a:br>
                <a:rPr lang="en-US" sz="1600" b="1" dirty="0">
                  <a:solidFill>
                    <a:srgbClr val="164960"/>
                  </a:solidFill>
                  <a:latin typeface="Arial" charset="0"/>
                </a:rPr>
              </a:br>
              <a:r>
                <a:rPr lang="en-US" sz="1600" b="1" dirty="0">
                  <a:solidFill>
                    <a:srgbClr val="164960"/>
                  </a:solidFill>
                  <a:latin typeface="Arial" charset="0"/>
                </a:rPr>
                <a:t>machine boundaries</a:t>
              </a:r>
            </a:p>
          </p:txBody>
        </p:sp>
        <p:sp>
          <p:nvSpPr>
            <p:cNvPr id="121" name="Text Box 155"/>
            <p:cNvSpPr txBox="1">
              <a:spLocks noChangeArrowheads="1"/>
            </p:cNvSpPr>
            <p:nvPr/>
          </p:nvSpPr>
          <p:spPr bwMode="auto">
            <a:xfrm>
              <a:off x="1244600" y="5378450"/>
              <a:ext cx="1379538" cy="5810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600" b="1" dirty="0">
                  <a:solidFill>
                    <a:srgbClr val="164960"/>
                  </a:solidFill>
                  <a:latin typeface="Arial" charset="0"/>
                </a:rPr>
                <a:t>Network-</a:t>
              </a:r>
              <a:br>
                <a:rPr lang="en-US" sz="1600" b="1" dirty="0">
                  <a:solidFill>
                    <a:srgbClr val="164960"/>
                  </a:solidFill>
                  <a:latin typeface="Arial" charset="0"/>
                </a:rPr>
              </a:br>
              <a:r>
                <a:rPr lang="en-US" sz="1600" b="1" dirty="0">
                  <a:solidFill>
                    <a:srgbClr val="164960"/>
                  </a:solidFill>
                  <a:latin typeface="Arial" charset="0"/>
                </a:rPr>
                <a:t>connections</a:t>
              </a:r>
            </a:p>
          </p:txBody>
        </p:sp>
        <p:sp>
          <p:nvSpPr>
            <p:cNvPr id="122" name="Line 156"/>
            <p:cNvSpPr>
              <a:spLocks noChangeShapeType="1"/>
            </p:cNvSpPr>
            <p:nvPr/>
          </p:nvSpPr>
          <p:spPr bwMode="auto">
            <a:xfrm>
              <a:off x="592138" y="6276975"/>
              <a:ext cx="488950" cy="0"/>
            </a:xfrm>
            <a:prstGeom prst="line">
              <a:avLst/>
            </a:prstGeom>
            <a:noFill/>
            <a:ln w="25400">
              <a:solidFill>
                <a:srgbClr val="16495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Text Box 157"/>
            <p:cNvSpPr txBox="1">
              <a:spLocks noChangeArrowheads="1"/>
            </p:cNvSpPr>
            <p:nvPr/>
          </p:nvSpPr>
          <p:spPr bwMode="auto">
            <a:xfrm>
              <a:off x="1238250" y="6046788"/>
              <a:ext cx="1416050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n-US" sz="1600" b="1">
                  <a:solidFill>
                    <a:srgbClr val="164960"/>
                  </a:solidFill>
                  <a:latin typeface="Arial" charset="0"/>
                </a:rPr>
                <a:t>Logical links</a:t>
              </a:r>
            </a:p>
          </p:txBody>
        </p:sp>
        <p:sp>
          <p:nvSpPr>
            <p:cNvPr id="124" name="Line 158"/>
            <p:cNvSpPr>
              <a:spLocks noChangeShapeType="1"/>
            </p:cNvSpPr>
            <p:nvPr/>
          </p:nvSpPr>
          <p:spPr bwMode="auto">
            <a:xfrm>
              <a:off x="593725" y="6165304"/>
              <a:ext cx="488950" cy="0"/>
            </a:xfrm>
            <a:prstGeom prst="line">
              <a:avLst/>
            </a:prstGeom>
            <a:noFill/>
            <a:ln w="254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Line 159"/>
            <p:cNvSpPr>
              <a:spLocks noChangeShapeType="1"/>
            </p:cNvSpPr>
            <p:nvPr/>
          </p:nvSpPr>
          <p:spPr bwMode="auto">
            <a:xfrm>
              <a:off x="2249488" y="2709863"/>
              <a:ext cx="6350" cy="239712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6" name="Line 160"/>
            <p:cNvSpPr>
              <a:spLocks noChangeShapeType="1"/>
            </p:cNvSpPr>
            <p:nvPr/>
          </p:nvSpPr>
          <p:spPr bwMode="auto">
            <a:xfrm>
              <a:off x="2025650" y="2438400"/>
              <a:ext cx="0" cy="506413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7" name="Line 161"/>
            <p:cNvSpPr>
              <a:spLocks noChangeShapeType="1"/>
            </p:cNvSpPr>
            <p:nvPr/>
          </p:nvSpPr>
          <p:spPr bwMode="auto">
            <a:xfrm>
              <a:off x="2043113" y="2425700"/>
              <a:ext cx="847725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Line 162"/>
            <p:cNvSpPr>
              <a:spLocks noChangeShapeType="1"/>
            </p:cNvSpPr>
            <p:nvPr/>
          </p:nvSpPr>
          <p:spPr bwMode="auto">
            <a:xfrm>
              <a:off x="2251075" y="2687638"/>
              <a:ext cx="395288" cy="0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2" name="Line 163"/>
            <p:cNvSpPr>
              <a:spLocks noChangeShapeType="1"/>
            </p:cNvSpPr>
            <p:nvPr/>
          </p:nvSpPr>
          <p:spPr bwMode="auto">
            <a:xfrm>
              <a:off x="2660650" y="4283075"/>
              <a:ext cx="1712913" cy="0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3" name="Line 165"/>
            <p:cNvSpPr>
              <a:spLocks noChangeShapeType="1"/>
            </p:cNvSpPr>
            <p:nvPr/>
          </p:nvSpPr>
          <p:spPr bwMode="auto">
            <a:xfrm rot="5400000">
              <a:off x="1823244" y="3483769"/>
              <a:ext cx="1604962" cy="0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Line 166"/>
            <p:cNvSpPr>
              <a:spLocks noChangeShapeType="1"/>
            </p:cNvSpPr>
            <p:nvPr/>
          </p:nvSpPr>
          <p:spPr bwMode="auto">
            <a:xfrm rot="5400000">
              <a:off x="3510756" y="5123657"/>
              <a:ext cx="1690687" cy="0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Line 167"/>
            <p:cNvSpPr>
              <a:spLocks noChangeShapeType="1"/>
            </p:cNvSpPr>
            <p:nvPr/>
          </p:nvSpPr>
          <p:spPr bwMode="auto">
            <a:xfrm flipV="1">
              <a:off x="4346575" y="5965825"/>
              <a:ext cx="533400" cy="9525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6" name="Line 168"/>
            <p:cNvSpPr>
              <a:spLocks noChangeShapeType="1"/>
            </p:cNvSpPr>
            <p:nvPr/>
          </p:nvSpPr>
          <p:spPr bwMode="auto">
            <a:xfrm>
              <a:off x="4886325" y="5959475"/>
              <a:ext cx="0" cy="325438"/>
            </a:xfrm>
            <a:prstGeom prst="line">
              <a:avLst/>
            </a:prstGeom>
            <a:noFill/>
            <a:ln w="38100">
              <a:solidFill>
                <a:srgbClr val="16495F"/>
              </a:solidFill>
              <a:prstDash val="sysDot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7" name="Line 169"/>
            <p:cNvSpPr>
              <a:spLocks noChangeShapeType="1"/>
            </p:cNvSpPr>
            <p:nvPr/>
          </p:nvSpPr>
          <p:spPr bwMode="auto">
            <a:xfrm rot="5400000">
              <a:off x="2091532" y="3217069"/>
              <a:ext cx="1604962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8" name="Line 170"/>
            <p:cNvSpPr>
              <a:spLocks noChangeShapeType="1"/>
            </p:cNvSpPr>
            <p:nvPr/>
          </p:nvSpPr>
          <p:spPr bwMode="auto">
            <a:xfrm>
              <a:off x="2892425" y="4016375"/>
              <a:ext cx="3368675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9" name="Line 171"/>
            <p:cNvSpPr>
              <a:spLocks noChangeShapeType="1"/>
            </p:cNvSpPr>
            <p:nvPr/>
          </p:nvSpPr>
          <p:spPr bwMode="auto">
            <a:xfrm>
              <a:off x="5245100" y="2981325"/>
              <a:ext cx="0" cy="268288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0" name="Line 172"/>
            <p:cNvSpPr>
              <a:spLocks noChangeShapeType="1"/>
            </p:cNvSpPr>
            <p:nvPr/>
          </p:nvSpPr>
          <p:spPr bwMode="auto">
            <a:xfrm>
              <a:off x="5260975" y="2986088"/>
              <a:ext cx="257175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1" name="Line 173"/>
            <p:cNvSpPr>
              <a:spLocks noChangeShapeType="1"/>
            </p:cNvSpPr>
            <p:nvPr/>
          </p:nvSpPr>
          <p:spPr bwMode="auto">
            <a:xfrm rot="5400000">
              <a:off x="4999831" y="3498057"/>
              <a:ext cx="1042987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2" name="Line 174"/>
            <p:cNvSpPr>
              <a:spLocks noChangeShapeType="1"/>
            </p:cNvSpPr>
            <p:nvPr/>
          </p:nvSpPr>
          <p:spPr bwMode="auto">
            <a:xfrm>
              <a:off x="6540500" y="2982913"/>
              <a:ext cx="0" cy="268287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 type="triangle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3" name="Line 175"/>
            <p:cNvSpPr>
              <a:spLocks noChangeShapeType="1"/>
            </p:cNvSpPr>
            <p:nvPr/>
          </p:nvSpPr>
          <p:spPr bwMode="auto">
            <a:xfrm>
              <a:off x="6283325" y="2986088"/>
              <a:ext cx="257175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4" name="Line 177"/>
            <p:cNvSpPr>
              <a:spLocks noChangeShapeType="1"/>
            </p:cNvSpPr>
            <p:nvPr/>
          </p:nvSpPr>
          <p:spPr bwMode="auto">
            <a:xfrm rot="5400000">
              <a:off x="5726906" y="3504407"/>
              <a:ext cx="1042987" cy="0"/>
            </a:xfrm>
            <a:prstGeom prst="line">
              <a:avLst/>
            </a:prstGeom>
            <a:noFill/>
            <a:ln w="38100">
              <a:solidFill>
                <a:srgbClr val="164960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70205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WinCC OA Redundancy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10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10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6</a:t>
            </a:fld>
            <a:endParaRPr lang="en-GB"/>
          </a:p>
        </p:txBody>
      </p:sp>
      <p:grpSp>
        <p:nvGrpSpPr>
          <p:cNvPr id="80" name="Gruppieren 79"/>
          <p:cNvGrpSpPr/>
          <p:nvPr/>
        </p:nvGrpSpPr>
        <p:grpSpPr>
          <a:xfrm>
            <a:off x="251520" y="1297607"/>
            <a:ext cx="8568952" cy="5299745"/>
            <a:chOff x="604838" y="1258888"/>
            <a:chExt cx="7899400" cy="5381625"/>
          </a:xfrm>
        </p:grpSpPr>
        <p:sp>
          <p:nvSpPr>
            <p:cNvPr id="81" name="Line 172"/>
            <p:cNvSpPr>
              <a:spLocks noChangeShapeType="1"/>
            </p:cNvSpPr>
            <p:nvPr/>
          </p:nvSpPr>
          <p:spPr bwMode="auto">
            <a:xfrm>
              <a:off x="617538" y="2655888"/>
              <a:ext cx="7851775" cy="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diamond" w="med" len="med"/>
              <a:tailEnd type="diamond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AutoShape 142"/>
            <p:cNvSpPr>
              <a:spLocks noChangeArrowheads="1"/>
            </p:cNvSpPr>
            <p:nvPr/>
          </p:nvSpPr>
          <p:spPr bwMode="auto">
            <a:xfrm>
              <a:off x="628650" y="1258888"/>
              <a:ext cx="7853363" cy="965200"/>
            </a:xfrm>
            <a:prstGeom prst="roundRect">
              <a:avLst>
                <a:gd name="adj" fmla="val 16667"/>
              </a:avLst>
            </a:prstGeom>
            <a:solidFill>
              <a:srgbClr val="DADADA"/>
            </a:solidFill>
            <a:ln w="19050" cap="rnd">
              <a:solidFill>
                <a:schemeClr val="bg2"/>
              </a:solidFill>
              <a:prstDash val="sysDot"/>
              <a:round/>
              <a:headEnd/>
              <a:tailEnd/>
            </a:ln>
          </p:spPr>
          <p:txBody>
            <a:bodyPr wrap="none" tIns="0" bIns="720000"/>
            <a:lstStyle/>
            <a:p>
              <a:pPr algn="ctr" defTabSz="762000"/>
              <a:endParaRPr lang="de-AT">
                <a:solidFill>
                  <a:schemeClr val="bg2"/>
                </a:solidFill>
              </a:endParaRPr>
            </a:p>
          </p:txBody>
        </p:sp>
        <p:sp>
          <p:nvSpPr>
            <p:cNvPr id="83" name="AutoShape 143"/>
            <p:cNvSpPr>
              <a:spLocks noChangeArrowheads="1"/>
            </p:cNvSpPr>
            <p:nvPr/>
          </p:nvSpPr>
          <p:spPr bwMode="auto">
            <a:xfrm>
              <a:off x="5230813" y="2967038"/>
              <a:ext cx="3273425" cy="3048000"/>
            </a:xfrm>
            <a:prstGeom prst="roundRect">
              <a:avLst>
                <a:gd name="adj" fmla="val 16667"/>
              </a:avLst>
            </a:prstGeom>
            <a:noFill/>
            <a:ln w="19050" cap="rnd">
              <a:solidFill>
                <a:schemeClr val="bg2"/>
              </a:solidFill>
              <a:prstDash val="sysDot"/>
              <a:round/>
              <a:headEnd/>
              <a:tailEnd/>
            </a:ln>
          </p:spPr>
          <p:txBody>
            <a:bodyPr wrap="none" tIns="0" bIns="720000"/>
            <a:lstStyle/>
            <a:p>
              <a:pPr algn="r" defTabSz="762000"/>
              <a:r>
                <a:rPr lang="de-DE" sz="16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System‘</a:t>
              </a:r>
            </a:p>
          </p:txBody>
        </p:sp>
        <p:sp>
          <p:nvSpPr>
            <p:cNvPr id="84" name="AutoShape 144"/>
            <p:cNvSpPr>
              <a:spLocks noChangeArrowheads="1"/>
            </p:cNvSpPr>
            <p:nvPr/>
          </p:nvSpPr>
          <p:spPr bwMode="auto">
            <a:xfrm>
              <a:off x="604838" y="2944813"/>
              <a:ext cx="3243262" cy="3097212"/>
            </a:xfrm>
            <a:prstGeom prst="roundRect">
              <a:avLst>
                <a:gd name="adj" fmla="val 16667"/>
              </a:avLst>
            </a:prstGeom>
            <a:solidFill>
              <a:srgbClr val="DADADA"/>
            </a:solidFill>
            <a:ln w="19050" cap="rnd">
              <a:solidFill>
                <a:schemeClr val="bg2"/>
              </a:solidFill>
              <a:prstDash val="sysDot"/>
              <a:round/>
              <a:headEnd/>
              <a:tailEnd/>
            </a:ln>
          </p:spPr>
          <p:txBody>
            <a:bodyPr wrap="none" tIns="0" bIns="720000"/>
            <a:lstStyle/>
            <a:p>
              <a:pPr defTabSz="762000"/>
              <a:r>
                <a:rPr lang="de-DE" sz="16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System</a:t>
              </a:r>
            </a:p>
          </p:txBody>
        </p:sp>
        <p:sp>
          <p:nvSpPr>
            <p:cNvPr id="85" name="AutoShape 152"/>
            <p:cNvSpPr>
              <a:spLocks noChangeArrowheads="1"/>
            </p:cNvSpPr>
            <p:nvPr/>
          </p:nvSpPr>
          <p:spPr bwMode="auto">
            <a:xfrm>
              <a:off x="3021013" y="6367463"/>
              <a:ext cx="2971800" cy="273050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9525">
              <a:round/>
              <a:headEnd/>
              <a:tailEnd/>
            </a:ln>
            <a:scene3d>
              <a:camera prst="legacyObliqueTopRight"/>
              <a:lightRig rig="legacyFlat3" dir="b"/>
            </a:scene3d>
            <a:sp3d extrusionH="227000" prstMaterial="legacyMatte">
              <a:bevelT w="13500" h="13500" prst="angle"/>
              <a:bevelB w="13500" h="13500" prst="angle"/>
              <a:extrusionClr>
                <a:srgbClr val="FFFFFF"/>
              </a:extrusionClr>
            </a:sp3d>
          </p:spPr>
          <p:txBody>
            <a:bodyPr wrap="none" anchor="ctr">
              <a:flatTx/>
            </a:bodyPr>
            <a:lstStyle/>
            <a:p>
              <a:pPr algn="ctr" defTabSz="762000"/>
              <a:r>
                <a:rPr lang="de-DE" sz="16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Peripherals</a:t>
              </a:r>
            </a:p>
          </p:txBody>
        </p:sp>
        <p:cxnSp>
          <p:nvCxnSpPr>
            <p:cNvPr id="86" name="AutoShape 153"/>
            <p:cNvCxnSpPr>
              <a:cxnSpLocks noChangeShapeType="1"/>
              <a:stCxn id="113" idx="5"/>
              <a:endCxn id="85" idx="0"/>
            </p:cNvCxnSpPr>
            <p:nvPr/>
          </p:nvCxnSpPr>
          <p:spPr bwMode="auto">
            <a:xfrm>
              <a:off x="2428875" y="5864225"/>
              <a:ext cx="2078038" cy="503238"/>
            </a:xfrm>
            <a:prstGeom prst="straightConnector1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87" name="AutoShape 160"/>
            <p:cNvCxnSpPr>
              <a:cxnSpLocks noChangeShapeType="1"/>
              <a:stCxn id="132" idx="3"/>
              <a:endCxn id="85" idx="0"/>
            </p:cNvCxnSpPr>
            <p:nvPr/>
          </p:nvCxnSpPr>
          <p:spPr bwMode="auto">
            <a:xfrm flipH="1">
              <a:off x="4506913" y="5857875"/>
              <a:ext cx="2185987" cy="509588"/>
            </a:xfrm>
            <a:prstGeom prst="straightConnector1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88" name="Rectangle 161"/>
            <p:cNvSpPr>
              <a:spLocks noChangeArrowheads="1"/>
            </p:cNvSpPr>
            <p:nvPr/>
          </p:nvSpPr>
          <p:spPr bwMode="auto">
            <a:xfrm>
              <a:off x="935275" y="1433513"/>
              <a:ext cx="902811" cy="584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762000"/>
              <a:r>
                <a:rPr lang="de-DE" sz="16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Remote</a:t>
              </a:r>
            </a:p>
            <a:p>
              <a:pPr algn="ctr" defTabSz="762000"/>
              <a:r>
                <a:rPr lang="de-DE" sz="1600" dirty="0" smtClean="0">
                  <a:solidFill>
                    <a:schemeClr val="accent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UI</a:t>
              </a:r>
            </a:p>
          </p:txBody>
        </p:sp>
        <p:sp>
          <p:nvSpPr>
            <p:cNvPr id="89" name="Line 166"/>
            <p:cNvSpPr>
              <a:spLocks noChangeShapeType="1"/>
            </p:cNvSpPr>
            <p:nvPr/>
          </p:nvSpPr>
          <p:spPr bwMode="auto">
            <a:xfrm>
              <a:off x="614363" y="2374900"/>
              <a:ext cx="7851775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diamond" w="med" len="med"/>
              <a:tailEnd type="diamond" w="med" len="med"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Line 167"/>
            <p:cNvSpPr>
              <a:spLocks noChangeShapeType="1"/>
            </p:cNvSpPr>
            <p:nvPr/>
          </p:nvSpPr>
          <p:spPr bwMode="auto">
            <a:xfrm flipV="1">
              <a:off x="4384675" y="2039938"/>
              <a:ext cx="0" cy="3302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Line 173"/>
            <p:cNvSpPr>
              <a:spLocks noChangeShapeType="1"/>
            </p:cNvSpPr>
            <p:nvPr/>
          </p:nvSpPr>
          <p:spPr bwMode="auto">
            <a:xfrm flipV="1">
              <a:off x="4648200" y="2039938"/>
              <a:ext cx="0" cy="60960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Oval 149"/>
            <p:cNvSpPr>
              <a:spLocks noChangeArrowheads="1"/>
            </p:cNvSpPr>
            <p:nvPr/>
          </p:nvSpPr>
          <p:spPr bwMode="auto">
            <a:xfrm>
              <a:off x="4205288" y="1431925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 dirty="0">
                  <a:solidFill>
                    <a:schemeClr val="bg2"/>
                  </a:solidFill>
                  <a:latin typeface="Arial" pitchFamily="34" charset="0"/>
                </a:rPr>
                <a:t>UI</a:t>
              </a:r>
            </a:p>
          </p:txBody>
        </p:sp>
        <p:sp>
          <p:nvSpPr>
            <p:cNvPr id="93" name="Line 182"/>
            <p:cNvSpPr>
              <a:spLocks noChangeShapeType="1"/>
            </p:cNvSpPr>
            <p:nvPr/>
          </p:nvSpPr>
          <p:spPr bwMode="auto">
            <a:xfrm>
              <a:off x="4132263" y="2371725"/>
              <a:ext cx="0" cy="221615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Line 183"/>
            <p:cNvSpPr>
              <a:spLocks noChangeShapeType="1"/>
            </p:cNvSpPr>
            <p:nvPr/>
          </p:nvSpPr>
          <p:spPr bwMode="auto">
            <a:xfrm>
              <a:off x="701675" y="4581525"/>
              <a:ext cx="3443288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diamond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Line 184"/>
            <p:cNvSpPr>
              <a:spLocks noChangeShapeType="1"/>
            </p:cNvSpPr>
            <p:nvPr/>
          </p:nvSpPr>
          <p:spPr bwMode="auto">
            <a:xfrm>
              <a:off x="4348163" y="2659063"/>
              <a:ext cx="0" cy="221615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Line 185"/>
            <p:cNvSpPr>
              <a:spLocks noChangeShapeType="1"/>
            </p:cNvSpPr>
            <p:nvPr/>
          </p:nvSpPr>
          <p:spPr bwMode="auto">
            <a:xfrm>
              <a:off x="717550" y="4868863"/>
              <a:ext cx="3643313" cy="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diamond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Line 187"/>
            <p:cNvSpPr>
              <a:spLocks noChangeShapeType="1"/>
            </p:cNvSpPr>
            <p:nvPr/>
          </p:nvSpPr>
          <p:spPr bwMode="auto">
            <a:xfrm flipV="1">
              <a:off x="1928813" y="3643313"/>
              <a:ext cx="0" cy="92233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Line 188"/>
            <p:cNvSpPr>
              <a:spLocks noChangeShapeType="1"/>
            </p:cNvSpPr>
            <p:nvPr/>
          </p:nvSpPr>
          <p:spPr bwMode="auto">
            <a:xfrm flipV="1">
              <a:off x="2192338" y="3679825"/>
              <a:ext cx="0" cy="1179513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Line 189"/>
            <p:cNvSpPr>
              <a:spLocks noChangeShapeType="1"/>
            </p:cNvSpPr>
            <p:nvPr/>
          </p:nvSpPr>
          <p:spPr bwMode="auto">
            <a:xfrm flipV="1">
              <a:off x="1065213" y="4387850"/>
              <a:ext cx="0" cy="20002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Line 190"/>
            <p:cNvSpPr>
              <a:spLocks noChangeShapeType="1"/>
            </p:cNvSpPr>
            <p:nvPr/>
          </p:nvSpPr>
          <p:spPr bwMode="auto">
            <a:xfrm flipV="1">
              <a:off x="1328738" y="4387850"/>
              <a:ext cx="0" cy="481013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Oval 162"/>
            <p:cNvSpPr>
              <a:spLocks noChangeArrowheads="1"/>
            </p:cNvSpPr>
            <p:nvPr/>
          </p:nvSpPr>
          <p:spPr bwMode="auto">
            <a:xfrm flipH="1">
              <a:off x="1749425" y="3082925"/>
              <a:ext cx="609600" cy="61595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de-DE" sz="2400" b="0" dirty="0" err="1">
                  <a:solidFill>
                    <a:schemeClr val="bg2"/>
                  </a:solidFill>
                  <a:latin typeface="Arial" pitchFamily="34" charset="0"/>
                </a:rPr>
                <a:t>Ctrl</a:t>
              </a:r>
              <a:endParaRPr lang="de-DE" dirty="0">
                <a:solidFill>
                  <a:schemeClr val="bg2"/>
                </a:solidFill>
              </a:endParaRPr>
            </a:p>
          </p:txBody>
        </p:sp>
        <p:sp>
          <p:nvSpPr>
            <p:cNvPr id="107" name="Oval 148"/>
            <p:cNvSpPr>
              <a:spLocks noChangeArrowheads="1"/>
            </p:cNvSpPr>
            <p:nvPr/>
          </p:nvSpPr>
          <p:spPr bwMode="auto">
            <a:xfrm>
              <a:off x="879475" y="3794125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 dirty="0">
                  <a:solidFill>
                    <a:schemeClr val="bg2"/>
                  </a:solidFill>
                  <a:latin typeface="Arial" pitchFamily="34" charset="0"/>
                </a:rPr>
                <a:t>DM</a:t>
              </a:r>
              <a:endParaRPr lang="de-DE" sz="1400" dirty="0">
                <a:solidFill>
                  <a:schemeClr val="bg2"/>
                </a:solidFill>
                <a:latin typeface="Arial" pitchFamily="34" charset="0"/>
              </a:endParaRPr>
            </a:p>
          </p:txBody>
        </p:sp>
        <p:sp>
          <p:nvSpPr>
            <p:cNvPr id="108" name="Line 191"/>
            <p:cNvSpPr>
              <a:spLocks noChangeShapeType="1"/>
            </p:cNvSpPr>
            <p:nvPr/>
          </p:nvSpPr>
          <p:spPr bwMode="auto">
            <a:xfrm flipV="1">
              <a:off x="2701925" y="4359275"/>
              <a:ext cx="0" cy="22225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Line 192"/>
            <p:cNvSpPr>
              <a:spLocks noChangeShapeType="1"/>
            </p:cNvSpPr>
            <p:nvPr/>
          </p:nvSpPr>
          <p:spPr bwMode="auto">
            <a:xfrm flipV="1">
              <a:off x="2965450" y="4395788"/>
              <a:ext cx="0" cy="45085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Oval 147"/>
            <p:cNvSpPr>
              <a:spLocks noChangeArrowheads="1"/>
            </p:cNvSpPr>
            <p:nvPr/>
          </p:nvSpPr>
          <p:spPr bwMode="auto">
            <a:xfrm>
              <a:off x="2514600" y="3802063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 dirty="0">
                  <a:solidFill>
                    <a:schemeClr val="bg2"/>
                  </a:solidFill>
                  <a:latin typeface="Arial" pitchFamily="34" charset="0"/>
                </a:rPr>
                <a:t>EV</a:t>
              </a:r>
            </a:p>
          </p:txBody>
        </p:sp>
        <p:sp>
          <p:nvSpPr>
            <p:cNvPr id="111" name="Line 193"/>
            <p:cNvSpPr>
              <a:spLocks noChangeShapeType="1"/>
            </p:cNvSpPr>
            <p:nvPr/>
          </p:nvSpPr>
          <p:spPr bwMode="auto">
            <a:xfrm>
              <a:off x="2068513" y="4578350"/>
              <a:ext cx="0" cy="82867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Line 194"/>
            <p:cNvSpPr>
              <a:spLocks noChangeShapeType="1"/>
            </p:cNvSpPr>
            <p:nvPr/>
          </p:nvSpPr>
          <p:spPr bwMode="auto">
            <a:xfrm>
              <a:off x="2332038" y="4860925"/>
              <a:ext cx="0" cy="536575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Oval 150"/>
            <p:cNvSpPr>
              <a:spLocks noChangeArrowheads="1"/>
            </p:cNvSpPr>
            <p:nvPr/>
          </p:nvSpPr>
          <p:spPr bwMode="auto">
            <a:xfrm>
              <a:off x="1884363" y="5319713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 dirty="0">
                  <a:solidFill>
                    <a:schemeClr val="bg2"/>
                  </a:solidFill>
                  <a:latin typeface="Arial" pitchFamily="34" charset="0"/>
                </a:rPr>
                <a:t>D</a:t>
              </a:r>
            </a:p>
          </p:txBody>
        </p:sp>
        <p:sp>
          <p:nvSpPr>
            <p:cNvPr id="114" name="Line 195"/>
            <p:cNvSpPr>
              <a:spLocks noChangeShapeType="1"/>
            </p:cNvSpPr>
            <p:nvPr/>
          </p:nvSpPr>
          <p:spPr bwMode="auto">
            <a:xfrm>
              <a:off x="3306763" y="4589463"/>
              <a:ext cx="0" cy="508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Line 196"/>
            <p:cNvSpPr>
              <a:spLocks noChangeShapeType="1"/>
            </p:cNvSpPr>
            <p:nvPr/>
          </p:nvSpPr>
          <p:spPr bwMode="auto">
            <a:xfrm>
              <a:off x="3570288" y="4872038"/>
              <a:ext cx="0" cy="250825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Oval 151"/>
            <p:cNvSpPr>
              <a:spLocks noChangeArrowheads="1"/>
            </p:cNvSpPr>
            <p:nvPr/>
          </p:nvSpPr>
          <p:spPr bwMode="auto">
            <a:xfrm>
              <a:off x="3108325" y="4991100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1800" dirty="0" err="1">
                  <a:solidFill>
                    <a:schemeClr val="bg2"/>
                  </a:solidFill>
                  <a:latin typeface="Arial" pitchFamily="34" charset="0"/>
                </a:rPr>
                <a:t>Redu</a:t>
              </a:r>
              <a:endParaRPr lang="de-DE" sz="1400" dirty="0">
                <a:solidFill>
                  <a:schemeClr val="bg2"/>
                </a:solidFill>
                <a:latin typeface="Arial" pitchFamily="34" charset="0"/>
              </a:endParaRPr>
            </a:p>
          </p:txBody>
        </p:sp>
        <p:sp>
          <p:nvSpPr>
            <p:cNvPr id="117" name="Line 197"/>
            <p:cNvSpPr>
              <a:spLocks noChangeShapeType="1"/>
            </p:cNvSpPr>
            <p:nvPr/>
          </p:nvSpPr>
          <p:spPr bwMode="auto">
            <a:xfrm>
              <a:off x="4989513" y="2365375"/>
              <a:ext cx="0" cy="221615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Line 198"/>
            <p:cNvSpPr>
              <a:spLocks noChangeShapeType="1"/>
            </p:cNvSpPr>
            <p:nvPr/>
          </p:nvSpPr>
          <p:spPr bwMode="auto">
            <a:xfrm flipH="1">
              <a:off x="4976813" y="4575175"/>
              <a:ext cx="3443287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diamond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Line 199"/>
            <p:cNvSpPr>
              <a:spLocks noChangeShapeType="1"/>
            </p:cNvSpPr>
            <p:nvPr/>
          </p:nvSpPr>
          <p:spPr bwMode="auto">
            <a:xfrm>
              <a:off x="4773613" y="2652713"/>
              <a:ext cx="0" cy="221615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Line 200"/>
            <p:cNvSpPr>
              <a:spLocks noChangeShapeType="1"/>
            </p:cNvSpPr>
            <p:nvPr/>
          </p:nvSpPr>
          <p:spPr bwMode="auto">
            <a:xfrm flipH="1">
              <a:off x="4760913" y="4862513"/>
              <a:ext cx="3643312" cy="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diamond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Line 201"/>
            <p:cNvSpPr>
              <a:spLocks noChangeShapeType="1"/>
            </p:cNvSpPr>
            <p:nvPr/>
          </p:nvSpPr>
          <p:spPr bwMode="auto">
            <a:xfrm flipV="1">
              <a:off x="7192963" y="3636963"/>
              <a:ext cx="0" cy="92233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2" name="Line 202"/>
            <p:cNvSpPr>
              <a:spLocks noChangeShapeType="1"/>
            </p:cNvSpPr>
            <p:nvPr/>
          </p:nvSpPr>
          <p:spPr bwMode="auto">
            <a:xfrm flipV="1">
              <a:off x="6929438" y="3673475"/>
              <a:ext cx="0" cy="1179513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3" name="Line 203"/>
            <p:cNvSpPr>
              <a:spLocks noChangeShapeType="1"/>
            </p:cNvSpPr>
            <p:nvPr/>
          </p:nvSpPr>
          <p:spPr bwMode="auto">
            <a:xfrm flipV="1">
              <a:off x="8056563" y="4381500"/>
              <a:ext cx="0" cy="20002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4" name="Line 204"/>
            <p:cNvSpPr>
              <a:spLocks noChangeShapeType="1"/>
            </p:cNvSpPr>
            <p:nvPr/>
          </p:nvSpPr>
          <p:spPr bwMode="auto">
            <a:xfrm flipV="1">
              <a:off x="7793038" y="4381500"/>
              <a:ext cx="0" cy="481013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5" name="Oval 205"/>
            <p:cNvSpPr>
              <a:spLocks noChangeArrowheads="1"/>
            </p:cNvSpPr>
            <p:nvPr/>
          </p:nvSpPr>
          <p:spPr bwMode="auto">
            <a:xfrm flipH="1">
              <a:off x="6762750" y="3076575"/>
              <a:ext cx="609600" cy="61595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 defTabSz="762000"/>
              <a:r>
                <a:rPr lang="de-DE" sz="2400" b="0">
                  <a:solidFill>
                    <a:schemeClr val="bg2"/>
                  </a:solidFill>
                  <a:latin typeface="Arial" pitchFamily="34" charset="0"/>
                </a:rPr>
                <a:t>Ctrl‘</a:t>
              </a:r>
            </a:p>
          </p:txBody>
        </p:sp>
        <p:sp>
          <p:nvSpPr>
            <p:cNvPr id="126" name="Oval 206"/>
            <p:cNvSpPr>
              <a:spLocks noChangeArrowheads="1"/>
            </p:cNvSpPr>
            <p:nvPr/>
          </p:nvSpPr>
          <p:spPr bwMode="auto">
            <a:xfrm>
              <a:off x="7604125" y="3787775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>
                  <a:solidFill>
                    <a:schemeClr val="bg2"/>
                  </a:solidFill>
                  <a:latin typeface="Arial" pitchFamily="34" charset="0"/>
                </a:rPr>
                <a:t>DM‘</a:t>
              </a:r>
            </a:p>
          </p:txBody>
        </p:sp>
        <p:sp>
          <p:nvSpPr>
            <p:cNvPr id="127" name="Line 207"/>
            <p:cNvSpPr>
              <a:spLocks noChangeShapeType="1"/>
            </p:cNvSpPr>
            <p:nvPr/>
          </p:nvSpPr>
          <p:spPr bwMode="auto">
            <a:xfrm flipV="1">
              <a:off x="6419850" y="4352925"/>
              <a:ext cx="0" cy="22225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8" name="Line 208"/>
            <p:cNvSpPr>
              <a:spLocks noChangeShapeType="1"/>
            </p:cNvSpPr>
            <p:nvPr/>
          </p:nvSpPr>
          <p:spPr bwMode="auto">
            <a:xfrm flipV="1">
              <a:off x="6156325" y="4389438"/>
              <a:ext cx="0" cy="450850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29" name="Oval 209"/>
            <p:cNvSpPr>
              <a:spLocks noChangeArrowheads="1"/>
            </p:cNvSpPr>
            <p:nvPr/>
          </p:nvSpPr>
          <p:spPr bwMode="auto">
            <a:xfrm>
              <a:off x="5969000" y="3795713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>
                  <a:solidFill>
                    <a:schemeClr val="bg2"/>
                  </a:solidFill>
                  <a:latin typeface="Arial" pitchFamily="34" charset="0"/>
                </a:rPr>
                <a:t>EV‘</a:t>
              </a:r>
            </a:p>
          </p:txBody>
        </p:sp>
        <p:sp>
          <p:nvSpPr>
            <p:cNvPr id="130" name="Line 210"/>
            <p:cNvSpPr>
              <a:spLocks noChangeShapeType="1"/>
            </p:cNvSpPr>
            <p:nvPr/>
          </p:nvSpPr>
          <p:spPr bwMode="auto">
            <a:xfrm>
              <a:off x="7053263" y="4572000"/>
              <a:ext cx="0" cy="828675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1" name="Line 211"/>
            <p:cNvSpPr>
              <a:spLocks noChangeShapeType="1"/>
            </p:cNvSpPr>
            <p:nvPr/>
          </p:nvSpPr>
          <p:spPr bwMode="auto">
            <a:xfrm>
              <a:off x="6789738" y="4854575"/>
              <a:ext cx="0" cy="536575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2" name="Oval 212"/>
            <p:cNvSpPr>
              <a:spLocks noChangeArrowheads="1"/>
            </p:cNvSpPr>
            <p:nvPr/>
          </p:nvSpPr>
          <p:spPr bwMode="auto">
            <a:xfrm>
              <a:off x="6599238" y="5313363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2400" b="0">
                  <a:solidFill>
                    <a:schemeClr val="bg2"/>
                  </a:solidFill>
                  <a:latin typeface="Arial" pitchFamily="34" charset="0"/>
                </a:rPr>
                <a:t>D‘</a:t>
              </a:r>
            </a:p>
          </p:txBody>
        </p:sp>
        <p:sp>
          <p:nvSpPr>
            <p:cNvPr id="133" name="Line 213"/>
            <p:cNvSpPr>
              <a:spLocks noChangeShapeType="1"/>
            </p:cNvSpPr>
            <p:nvPr/>
          </p:nvSpPr>
          <p:spPr bwMode="auto">
            <a:xfrm>
              <a:off x="5815013" y="4583113"/>
              <a:ext cx="0" cy="50800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4" name="Line 214"/>
            <p:cNvSpPr>
              <a:spLocks noChangeShapeType="1"/>
            </p:cNvSpPr>
            <p:nvPr/>
          </p:nvSpPr>
          <p:spPr bwMode="auto">
            <a:xfrm>
              <a:off x="5551488" y="4865688"/>
              <a:ext cx="0" cy="250825"/>
            </a:xfrm>
            <a:prstGeom prst="line">
              <a:avLst/>
            </a:prstGeom>
            <a:noFill/>
            <a:ln w="38100">
              <a:solidFill>
                <a:srgbClr val="C0C0C0"/>
              </a:solidFill>
              <a:round/>
              <a:headEnd type="oval" w="med" len="med"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35" name="Oval 215"/>
            <p:cNvSpPr>
              <a:spLocks noChangeArrowheads="1"/>
            </p:cNvSpPr>
            <p:nvPr/>
          </p:nvSpPr>
          <p:spPr bwMode="auto">
            <a:xfrm>
              <a:off x="5375275" y="4984750"/>
              <a:ext cx="638175" cy="638175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0" tIns="0" rIns="0" bIns="0" anchor="ctr" anchorCtr="1"/>
            <a:lstStyle/>
            <a:p>
              <a:pPr algn="ctr" defTabSz="762000"/>
              <a:r>
                <a:rPr lang="de-DE" sz="1800" dirty="0" err="1">
                  <a:solidFill>
                    <a:schemeClr val="bg2"/>
                  </a:solidFill>
                  <a:latin typeface="Arial" pitchFamily="34" charset="0"/>
                </a:rPr>
                <a:t>Redu</a:t>
              </a:r>
              <a:r>
                <a:rPr lang="de-DE" sz="1800" b="0" dirty="0">
                  <a:solidFill>
                    <a:schemeClr val="bg2"/>
                  </a:solidFill>
                  <a:latin typeface="Arial" pitchFamily="34" charset="0"/>
                </a:rPr>
                <a:t>‘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1996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03648" y="1412776"/>
            <a:ext cx="6624736" cy="3024336"/>
          </a:xfrm>
        </p:spPr>
        <p:txBody>
          <a:bodyPr tIns="36000" bIns="36000">
            <a:normAutofit/>
          </a:bodyPr>
          <a:lstStyle/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ast adaptation of control and visualization of the plant to suit current market requirements</a:t>
            </a: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endParaRPr lang="en-US" sz="8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mplement new processes quickly and easily also by </a:t>
            </a:r>
            <a:b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</a:b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n-house programming and developments enabling independence and know-how protection</a:t>
            </a: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endParaRPr lang="en-US" sz="8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tandardized solutions enable continuous use</a:t>
            </a: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endParaRPr lang="en-US" sz="8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CADA Platform for OEMs</a:t>
            </a: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endParaRPr lang="en-US" sz="8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marL="342900" lvl="1" indent="-342900">
              <a:lnSpc>
                <a:spcPct val="80000"/>
              </a:lnSpc>
              <a:buSzPct val="150000"/>
              <a:buFont typeface="Arial" panose="020B0604020202020204" pitchFamily="34" charset="0"/>
              <a:buChar char="›"/>
            </a:pPr>
            <a:r>
              <a:rPr lang="en-US" sz="18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Brand labeling is supported</a:t>
            </a:r>
            <a:endParaRPr lang="de-DE" sz="18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Rectangle 13"/>
          <p:cNvSpPr/>
          <p:nvPr/>
        </p:nvSpPr>
        <p:spPr>
          <a:xfrm>
            <a:off x="1403648" y="4628166"/>
            <a:ext cx="5888604" cy="1537138"/>
          </a:xfrm>
          <a:prstGeom prst="rect">
            <a:avLst/>
          </a:prstGeom>
          <a:solidFill>
            <a:srgbClr val="AAAA9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>
            <a:spAutoFit/>
          </a:bodyPr>
          <a:lstStyle/>
          <a:p>
            <a:pPr marL="742950" lvl="1" indent="-285750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latform independent (Windows, Linux, Solaris)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bject orientation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Open achitecture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Platform in use in many industrial sectors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Easy Integration with other SW</a:t>
            </a:r>
          </a:p>
          <a:p>
            <a:pPr marL="742950" lvl="1" indent="-285750">
              <a:lnSpc>
                <a:spcPct val="80000"/>
              </a:lnSpc>
              <a:spcBef>
                <a:spcPct val="2000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Fast development tim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err="1" smtClean="0">
                <a:solidFill>
                  <a:schemeClr val="accent1">
                    <a:lumMod val="75000"/>
                  </a:schemeClr>
                </a:solidFill>
              </a:rPr>
              <a:t>WinCC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 OA – flexible and open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8509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US" dirty="0" err="1" smtClean="0">
                <a:solidFill>
                  <a:schemeClr val="accent1">
                    <a:lumMod val="75000"/>
                  </a:schemeClr>
                </a:solidFill>
              </a:rPr>
              <a:t>WinCC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</a:rPr>
              <a:t> OA within Siemens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76" name="Picture 5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BEBA8EAE-BF5A-486C-A8C5-ECC9F3942E4B}">
                <a14:imgProps xmlns:a14="http://schemas.microsoft.com/office/drawing/2010/main">
                  <a14:imgLayer r:embed="rId48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0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</p:spPr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9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51"/>
            <a:ext cx="3456384" cy="365125"/>
          </a:xfrm>
        </p:spPr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9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</p:spPr>
        <p:txBody>
          <a:bodyPr/>
          <a:lstStyle/>
          <a:p>
            <a:fld id="{94EB1264-2DC2-4921-94A1-13F831F55EAC}" type="slidenum">
              <a:rPr lang="en-GB" smtClean="0"/>
              <a:pPr/>
              <a:t>8</a:t>
            </a:fld>
            <a:endParaRPr lang="en-GB"/>
          </a:p>
        </p:txBody>
      </p:sp>
      <p:grpSp>
        <p:nvGrpSpPr>
          <p:cNvPr id="96" name="Gruppieren 95"/>
          <p:cNvGrpSpPr/>
          <p:nvPr/>
        </p:nvGrpSpPr>
        <p:grpSpPr>
          <a:xfrm>
            <a:off x="179512" y="1412776"/>
            <a:ext cx="8964489" cy="4896544"/>
            <a:chOff x="885825" y="1326409"/>
            <a:chExt cx="10847193" cy="5059829"/>
          </a:xfrm>
        </p:grpSpPr>
        <p:sp>
          <p:nvSpPr>
            <p:cNvPr id="97" name="Text Box 36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86182" y="1798553"/>
              <a:ext cx="1260000" cy="665875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PG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Power </a:t>
              </a:r>
              <a:br>
                <a:rPr lang="en-US" sz="12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and Ga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8" name="Text Box 36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186064" y="1798553"/>
              <a:ext cx="1260000" cy="666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WP</a:t>
              </a: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Wind Power &amp;</a:t>
              </a:r>
              <a:r>
                <a:rPr lang="en-US" sz="1200" dirty="0" err="1" smtClean="0">
                  <a:solidFill>
                    <a:schemeClr val="bg1"/>
                  </a:solidFill>
                  <a:latin typeface="+mj-lt"/>
                </a:rPr>
                <a:t>Renewable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9" name="Text Box 36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489664" y="1799508"/>
              <a:ext cx="1260000" cy="1044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EM</a:t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endParaRPr lang="en-US" sz="1200" b="1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Energy management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0" name="Text Box 3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785829" y="1798027"/>
              <a:ext cx="1260000" cy="1044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BT</a:t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endParaRPr lang="en-US" sz="1200" b="1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Building technologie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1" name="Text Box 3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085712" y="1798022"/>
              <a:ext cx="1260000" cy="1044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MO</a:t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endParaRPr lang="en-US" sz="1200" b="1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Mobility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2" name="Text Box 3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7385594" y="1798022"/>
              <a:ext cx="1260000" cy="1044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DF</a:t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endParaRPr lang="en-US" sz="1200" b="1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Digital </a:t>
              </a:r>
              <a:br>
                <a:rPr lang="en-US" sz="1200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factory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3" name="Text Box 36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8685477" y="1798022"/>
              <a:ext cx="1260000" cy="1044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PD</a:t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Process Industries and Drive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4" name="Text Box 3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9985359" y="1798022"/>
              <a:ext cx="1260000" cy="1044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36000" rIns="0" bIns="3600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HC</a:t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/>
              </a:r>
              <a:br>
                <a:rPr lang="en-US" sz="1200" b="1" dirty="0" smtClean="0">
                  <a:solidFill>
                    <a:schemeClr val="bg1"/>
                  </a:solidFill>
                  <a:latin typeface="+mj-lt"/>
                </a:rPr>
              </a:br>
              <a:endParaRPr lang="en-US" sz="1200" b="1" dirty="0" smtClean="0">
                <a:solidFill>
                  <a:schemeClr val="bg1"/>
                </a:solidFill>
                <a:latin typeface="+mj-lt"/>
              </a:endParaRPr>
            </a:p>
            <a:p>
              <a:pPr algn="ctr"/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Healthcare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5" name="Text Box 36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886182" y="2487696"/>
              <a:ext cx="2559600" cy="360000"/>
            </a:xfrm>
            <a:prstGeom prst="rect">
              <a:avLst/>
            </a:prstGeom>
            <a:solidFill>
              <a:srgbClr val="AAAA9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+mj-lt"/>
                </a:rPr>
                <a:t>PG</a:t>
              </a:r>
            </a:p>
            <a:p>
              <a:pPr algn="ctr">
                <a:spcBef>
                  <a:spcPts val="0"/>
                </a:spcBef>
              </a:pPr>
              <a:r>
                <a:rPr lang="en-US" sz="1200" dirty="0" smtClean="0">
                  <a:solidFill>
                    <a:schemeClr val="bg1"/>
                  </a:solidFill>
                  <a:latin typeface="+mj-lt"/>
                </a:rPr>
                <a:t>Power Generation Services</a:t>
              </a:r>
              <a:endParaRPr lang="en-US" sz="1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6" name="Text Box 41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485589" y="4174484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SG</a:t>
              </a:r>
            </a:p>
          </p:txBody>
        </p:sp>
        <p:sp>
          <p:nvSpPr>
            <p:cNvPr id="107" name="Text Box 41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4785471" y="3206309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PS</a:t>
              </a:r>
            </a:p>
          </p:txBody>
        </p:sp>
        <p:sp>
          <p:nvSpPr>
            <p:cNvPr id="108" name="Text Box 41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6085354" y="4174484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S</a:t>
              </a:r>
            </a:p>
          </p:txBody>
        </p:sp>
        <p:sp>
          <p:nvSpPr>
            <p:cNvPr id="109" name="Text Box 41"/>
            <p:cNvSpPr txBox="1"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8685119" y="3851768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D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0" name="Text Box 41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9985001" y="4165519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IM</a:t>
              </a:r>
            </a:p>
          </p:txBody>
        </p:sp>
        <p:sp>
          <p:nvSpPr>
            <p:cNvPr id="111" name="Text Box 41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8685119" y="3529053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PA</a:t>
              </a:r>
            </a:p>
          </p:txBody>
        </p:sp>
        <p:sp>
          <p:nvSpPr>
            <p:cNvPr id="112" name="Text Box 41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685119" y="320633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OM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3" name="Text Box 41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8685119" y="2883621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LD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4" name="Text Box 41"/>
            <p:cNvSpPr txBox="1"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6085355" y="3851768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U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5" name="Text Box 41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6085355" y="3529053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LT</a:t>
              </a:r>
            </a:p>
          </p:txBody>
        </p:sp>
        <p:sp>
          <p:nvSpPr>
            <p:cNvPr id="116" name="Text Box 41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6085355" y="320633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TPE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7" name="Text Box 41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085355" y="2883621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M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8" name="Text Box 41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485591" y="3851768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EA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19" name="Text Box 41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485591" y="3529053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S</a:t>
              </a:r>
            </a:p>
          </p:txBody>
        </p:sp>
        <p:sp>
          <p:nvSpPr>
            <p:cNvPr id="120" name="Text Box 41"/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3485591" y="320633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H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1" name="Text Box 41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3485591" y="2883621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LP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2" name="Text Box 41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3485591" y="4837891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TR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3" name="Text Box 41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3485591" y="4506210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TS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4" name="Text Box 41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885825" y="4174484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IE</a:t>
              </a:r>
            </a:p>
          </p:txBody>
        </p:sp>
        <p:sp>
          <p:nvSpPr>
            <p:cNvPr id="125" name="Text Box 41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885827" y="3851768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ES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6" name="Text Box 41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885827" y="3529053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P</a:t>
              </a:r>
            </a:p>
          </p:txBody>
        </p:sp>
        <p:sp>
          <p:nvSpPr>
            <p:cNvPr id="127" name="Text Box 41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885827" y="320633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SU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8" name="Text Box 41"/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885827" y="2883621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DG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29" name="Text Box 41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885827" y="4506201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GT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0" name="Text Box 41"/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2185707" y="2883585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WP</a:t>
              </a:r>
            </a:p>
          </p:txBody>
        </p:sp>
        <p:sp>
          <p:nvSpPr>
            <p:cNvPr id="131" name="Text Box 41"/>
            <p:cNvSpPr txBox="1">
              <a:spLocks noChangeArrowheads="1"/>
            </p:cNvSpPr>
            <p:nvPr>
              <p:custDataLst>
                <p:tags r:id="rId35"/>
              </p:custDataLst>
            </p:nvPr>
          </p:nvSpPr>
          <p:spPr bwMode="auto">
            <a:xfrm>
              <a:off x="7385238" y="418345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S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2" name="Text Box 41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7385238" y="3860742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P</a:t>
              </a:r>
            </a:p>
          </p:txBody>
        </p:sp>
        <p:sp>
          <p:nvSpPr>
            <p:cNvPr id="133" name="Text Box 41"/>
            <p:cNvSpPr txBox="1"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7385238" y="3538026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EC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4" name="Text Box 41"/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7385238" y="3215310"/>
              <a:ext cx="1260000" cy="288000"/>
            </a:xfrm>
            <a:prstGeom prst="rect">
              <a:avLst/>
            </a:prstGeom>
            <a:solidFill>
              <a:schemeClr val="accent3"/>
            </a:solidFill>
            <a:ln w="25400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PL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5" name="Text Box 41"/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7385238" y="289257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FA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6" name="Text Box 41"/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7385238" y="4515173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MC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37" name="Text Box 41"/>
            <p:cNvSpPr txBox="1"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4785471" y="2883585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BT</a:t>
              </a:r>
            </a:p>
          </p:txBody>
        </p:sp>
        <p:sp>
          <p:nvSpPr>
            <p:cNvPr id="138" name="Text Box 41"/>
            <p:cNvSpPr txBox="1"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9985003" y="3842812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P</a:t>
              </a:r>
            </a:p>
          </p:txBody>
        </p:sp>
        <p:sp>
          <p:nvSpPr>
            <p:cNvPr id="139" name="Text Box 41"/>
            <p:cNvSpPr txBox="1"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9985003" y="3520096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DX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40" name="Text Box 41"/>
            <p:cNvSpPr txBox="1"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9985003" y="3197380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CX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41" name="Text Box 41"/>
            <p:cNvSpPr txBox="1">
              <a:spLocks noChangeArrowheads="1"/>
            </p:cNvSpPr>
            <p:nvPr>
              <p:custDataLst>
                <p:tags r:id="rId45"/>
              </p:custDataLst>
            </p:nvPr>
          </p:nvSpPr>
          <p:spPr bwMode="auto">
            <a:xfrm>
              <a:off x="9985003" y="2874647"/>
              <a:ext cx="1260000" cy="288000"/>
            </a:xfrm>
            <a:prstGeom prst="rect">
              <a:avLst/>
            </a:prstGeom>
            <a:solidFill>
              <a:srgbClr val="55A0B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AU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42" name="Rechteck 141"/>
            <p:cNvSpPr/>
            <p:nvPr/>
          </p:nvSpPr>
          <p:spPr bwMode="auto">
            <a:xfrm>
              <a:off x="887514" y="1326409"/>
              <a:ext cx="10361052" cy="448236"/>
            </a:xfrm>
            <a:prstGeom prst="rect">
              <a:avLst/>
            </a:prstGeom>
            <a:solidFill>
              <a:srgbClr val="AAAA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800" b="1" dirty="0" err="1" smtClean="0">
                <a:solidFill>
                  <a:schemeClr val="tx1"/>
                </a:solidFill>
              </a:endParaRPr>
            </a:p>
          </p:txBody>
        </p:sp>
        <p:pic>
          <p:nvPicPr>
            <p:cNvPr id="143" name="Picture 2" descr="X:\Bilder\logos\Siemens\sie_logo_petrol.jpg"/>
            <p:cNvPicPr>
              <a:picLocks noChangeAspect="1" noChangeArrowheads="1"/>
            </p:cNvPicPr>
            <p:nvPr/>
          </p:nvPicPr>
          <p:blipFill>
            <a:blip r:embed="rId4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64971" y="1357463"/>
              <a:ext cx="1999229" cy="395452"/>
            </a:xfrm>
            <a:prstGeom prst="rect">
              <a:avLst/>
            </a:prstGeom>
            <a:noFill/>
          </p:spPr>
        </p:pic>
        <p:pic>
          <p:nvPicPr>
            <p:cNvPr id="144" name="Grafik 143" descr="140508_SIMATIC WinCC OA DT Icons.png"/>
            <p:cNvPicPr>
              <a:picLocks noChangeAspect="1"/>
            </p:cNvPicPr>
            <p:nvPr/>
          </p:nvPicPr>
          <p:blipFill>
            <a:blip r:embed="rId50" cstate="print"/>
            <a:stretch>
              <a:fillRect/>
            </a:stretch>
          </p:blipFill>
          <p:spPr>
            <a:xfrm rot="10800000" flipH="1" flipV="1">
              <a:off x="7425202" y="3239751"/>
              <a:ext cx="268176" cy="242928"/>
            </a:xfrm>
            <a:prstGeom prst="rect">
              <a:avLst/>
            </a:prstGeom>
          </p:spPr>
        </p:pic>
        <p:sp>
          <p:nvSpPr>
            <p:cNvPr id="145" name="Ellipse 144"/>
            <p:cNvSpPr/>
            <p:nvPr/>
          </p:nvSpPr>
          <p:spPr bwMode="auto">
            <a:xfrm rot="10800000" flipH="1">
              <a:off x="7345354" y="5474852"/>
              <a:ext cx="138542" cy="125499"/>
            </a:xfrm>
            <a:prstGeom prst="ellipse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sz="8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6" name="Ellipse 145"/>
            <p:cNvSpPr/>
            <p:nvPr/>
          </p:nvSpPr>
          <p:spPr bwMode="auto">
            <a:xfrm>
              <a:off x="4511688" y="2914978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7" name="Ellipse 146"/>
            <p:cNvSpPr/>
            <p:nvPr/>
          </p:nvSpPr>
          <p:spPr bwMode="auto">
            <a:xfrm>
              <a:off x="4500527" y="3557279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8" name="Ellipse 147"/>
            <p:cNvSpPr/>
            <p:nvPr/>
          </p:nvSpPr>
          <p:spPr bwMode="auto">
            <a:xfrm>
              <a:off x="4500527" y="4535184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9" name="Ellipse 148"/>
            <p:cNvSpPr/>
            <p:nvPr/>
          </p:nvSpPr>
          <p:spPr bwMode="auto">
            <a:xfrm>
              <a:off x="5825638" y="2917172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0" name="Ellipse 149"/>
            <p:cNvSpPr/>
            <p:nvPr/>
          </p:nvSpPr>
          <p:spPr bwMode="auto">
            <a:xfrm>
              <a:off x="6132052" y="2920520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1" name="Ellipse 150"/>
            <p:cNvSpPr/>
            <p:nvPr/>
          </p:nvSpPr>
          <p:spPr bwMode="auto">
            <a:xfrm>
              <a:off x="6374112" y="2922277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2" name="Ellipse 151"/>
            <p:cNvSpPr/>
            <p:nvPr/>
          </p:nvSpPr>
          <p:spPr bwMode="auto">
            <a:xfrm>
              <a:off x="7092336" y="2922277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/>
            <p:nvPr/>
          </p:nvSpPr>
          <p:spPr bwMode="auto">
            <a:xfrm>
              <a:off x="6125592" y="3571347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4" name="Ellipse 153"/>
            <p:cNvSpPr/>
            <p:nvPr/>
          </p:nvSpPr>
          <p:spPr bwMode="auto">
            <a:xfrm>
              <a:off x="6367652" y="3573104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5" name="Ellipse 154"/>
            <p:cNvSpPr/>
            <p:nvPr/>
          </p:nvSpPr>
          <p:spPr bwMode="auto">
            <a:xfrm>
              <a:off x="7085876" y="3573104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6" name="Ellipse 155"/>
            <p:cNvSpPr/>
            <p:nvPr/>
          </p:nvSpPr>
          <p:spPr bwMode="auto">
            <a:xfrm>
              <a:off x="7085876" y="3245007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7" name="Ellipse 156"/>
            <p:cNvSpPr/>
            <p:nvPr/>
          </p:nvSpPr>
          <p:spPr bwMode="auto">
            <a:xfrm>
              <a:off x="7078268" y="3891239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8" name="Ellipse 157"/>
            <p:cNvSpPr/>
            <p:nvPr/>
          </p:nvSpPr>
          <p:spPr bwMode="auto">
            <a:xfrm>
              <a:off x="8411337" y="2927770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59" name="Ellipse 158"/>
            <p:cNvSpPr/>
            <p:nvPr/>
          </p:nvSpPr>
          <p:spPr bwMode="auto">
            <a:xfrm>
              <a:off x="9739354" y="3245007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0" name="Ellipse 159"/>
            <p:cNvSpPr/>
            <p:nvPr/>
          </p:nvSpPr>
          <p:spPr bwMode="auto">
            <a:xfrm>
              <a:off x="8717593" y="3569590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1" name="Ellipse 160"/>
            <p:cNvSpPr/>
            <p:nvPr/>
          </p:nvSpPr>
          <p:spPr bwMode="auto">
            <a:xfrm>
              <a:off x="8959653" y="3571347"/>
              <a:ext cx="191697" cy="191697"/>
            </a:xfrm>
            <a:prstGeom prst="ellipse">
              <a:avLst/>
            </a:prstGeom>
            <a:solidFill>
              <a:srgbClr val="FFB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2" name="Rechteck 161"/>
            <p:cNvSpPr/>
            <p:nvPr/>
          </p:nvSpPr>
          <p:spPr>
            <a:xfrm rot="389682">
              <a:off x="8489822" y="4814464"/>
              <a:ext cx="3243196" cy="1571774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r>
                <a:rPr lang="en-US" sz="2800" b="1" dirty="0" smtClean="0">
                  <a:solidFill>
                    <a:srgbClr val="FFB900"/>
                  </a:solidFill>
                  <a:latin typeface="Siemens Sans" pitchFamily="2" charset="0"/>
                  <a:cs typeface="Arial" pitchFamily="34" charset="0"/>
                </a:rPr>
                <a:t>17 products based on OA</a:t>
              </a:r>
              <a:endParaRPr lang="en-US" sz="2800" dirty="0">
                <a:solidFill>
                  <a:srgbClr val="FFB900"/>
                </a:solidFill>
              </a:endParaRP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3648" y="1268760"/>
            <a:ext cx="6984776" cy="4896544"/>
          </a:xfrm>
        </p:spPr>
        <p:txBody>
          <a:bodyPr>
            <a:noAutofit/>
          </a:bodyPr>
          <a:lstStyle/>
          <a:p>
            <a:r>
              <a:rPr lang="en-GB" sz="2000" dirty="0" smtClean="0"/>
              <a:t>Long successful collaboration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For more than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20 Years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More than 600 </a:t>
            </a:r>
            <a:r>
              <a:rPr lang="en-GB" sz="1600" dirty="0" err="1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imatic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control systems installed</a:t>
            </a:r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artnership,  Much more than a client-provider relationship</a:t>
            </a:r>
          </a:p>
          <a:p>
            <a:pPr marL="457200" lvl="1" indent="0">
              <a:buNone/>
            </a:pPr>
            <a:endParaRPr lang="en-GB" sz="1600" dirty="0" smtClean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GB" sz="2000" dirty="0" smtClean="0"/>
              <a:t>Large deployment of  Siemens systems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Supervision systems  (</a:t>
            </a:r>
            <a:r>
              <a:rPr lang="en-GB" sz="1600" dirty="0" err="1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WinCC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OA, </a:t>
            </a:r>
            <a:r>
              <a:rPr lang="en-GB" sz="1600" dirty="0" err="1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WinCC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)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grammable Logic Controllers (PLC) 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Control modules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anels, …</a:t>
            </a:r>
          </a:p>
          <a:p>
            <a:pPr lvl="1">
              <a:buNone/>
            </a:pPr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r>
              <a:rPr lang="en-GB" sz="2000" dirty="0" smtClean="0"/>
              <a:t>Joined </a:t>
            </a:r>
            <a:r>
              <a:rPr lang="en-GB" sz="2000" dirty="0" err="1" smtClean="0"/>
              <a:t>openlab</a:t>
            </a:r>
            <a:r>
              <a:rPr lang="en-GB" sz="2000" dirty="0" smtClean="0"/>
              <a:t> in 2009</a:t>
            </a: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hase III (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2009-12): Security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,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Large scale deployment</a:t>
            </a:r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  <a:p>
            <a:pPr lvl="1"/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hase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IV (2012-15): High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erformance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rchiving, Data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Analysis</a:t>
            </a:r>
          </a:p>
          <a:p>
            <a:pPr lvl="1"/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Next </a:t>
            </a:r>
            <a:r>
              <a:rPr lang="en-GB" sz="1600" dirty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hase </a:t>
            </a:r>
            <a:r>
              <a:rPr lang="en-GB" sz="1600" dirty="0" smtClean="0">
                <a:solidFill>
                  <a:schemeClr val="accent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V (2015-18): Data Analytics, WinCC OA enhancements</a:t>
            </a:r>
          </a:p>
          <a:p>
            <a:pPr lvl="1"/>
            <a:endParaRPr lang="en-GB" sz="1600" dirty="0">
              <a:solidFill>
                <a:schemeClr val="accent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 descr="http://i01.i.aliimg.com/img/pb/861/741/252/1275987895086_hz-fileserver2_214753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284984"/>
            <a:ext cx="1440160" cy="1080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3648" y="274637"/>
            <a:ext cx="7283152" cy="778099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</a:rPr>
              <a:t>A bit of history…</a:t>
            </a:r>
            <a:endParaRPr lang="en-GB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 smtClean="0"/>
              <a:t>10</a:t>
            </a:r>
            <a:r>
              <a:rPr lang="en-GB" baseline="30000" dirty="0" smtClean="0"/>
              <a:t>th</a:t>
            </a:r>
            <a:r>
              <a:rPr lang="en-GB" dirty="0" smtClean="0"/>
              <a:t>  June 2015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Siemens </a:t>
            </a:r>
            <a:r>
              <a:rPr lang="en-GB" dirty="0"/>
              <a:t>CERN </a:t>
            </a:r>
            <a:r>
              <a:rPr lang="en-GB" dirty="0" smtClean="0"/>
              <a:t>openlab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EB1264-2DC2-4921-94A1-13F831F55EAC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434" b="86792" l="0" r="92920">
                        <a14:foregroundMark x1="18584" y1="28302" x2="18584" y2="28302"/>
                        <a14:foregroundMark x1="8850" y1="49057" x2="8850" y2="49057"/>
                        <a14:foregroundMark x1="26549" y1="49057" x2="26549" y2="49057"/>
                        <a14:foregroundMark x1="60177" y1="35849" x2="60177" y2="35849"/>
                        <a14:foregroundMark x1="72566" y1="37736" x2="72566" y2="37736"/>
                        <a14:foregroundMark x1="92920" y1="50943" x2="92920" y2="50943"/>
                        <a14:backgroundMark x1="15044" y1="32075" x2="15044" y2="320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95" y="831211"/>
            <a:ext cx="938937" cy="22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257195" y="790104"/>
            <a:ext cx="93893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758655"/>
              </p:ext>
            </p:extLst>
          </p:nvPr>
        </p:nvGraphicFramePr>
        <p:xfrm>
          <a:off x="6876256" y="2708920"/>
          <a:ext cx="1944216" cy="21031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083835"/>
                <a:gridCol w="860381"/>
              </a:tblGrid>
              <a:tr h="344223"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Application</a:t>
                      </a: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Systems installed</a:t>
                      </a:r>
                      <a:endParaRPr lang="en-GB" sz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04786"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ALICE</a:t>
                      </a: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~100</a:t>
                      </a: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204786"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ATLAS</a:t>
                      </a:r>
                      <a:endParaRPr lang="en-GB" sz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~130</a:t>
                      </a: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204786"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305" rtl="0" eaLnBrk="1" latinLnBrk="0" hangingPunct="1"/>
                      <a:r>
                        <a:rPr lang="en-GB" sz="1200" kern="1200" dirty="0" smtClean="0"/>
                        <a:t>CMS</a:t>
                      </a:r>
                      <a:endParaRPr lang="en-GB" sz="1200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marL="0" algn="ctr" defTabSz="914305" rtl="0" eaLnBrk="1" latinLnBrk="0" hangingPunct="1"/>
                      <a:r>
                        <a:rPr lang="en-GB" sz="1200" kern="1200" dirty="0" smtClean="0"/>
                        <a:t>~90</a:t>
                      </a:r>
                      <a:endParaRPr lang="en-GB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"/>
                        <a:cs typeface=""/>
                      </a:endParaRPr>
                    </a:p>
                  </a:txBody>
                  <a:tcPr/>
                </a:tc>
              </a:tr>
              <a:tr h="204786"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err="1" smtClean="0"/>
                        <a:t>LHCb</a:t>
                      </a: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dirty="0" smtClean="0"/>
                        <a:t>~160</a:t>
                      </a:r>
                      <a:endParaRPr lang="en-GB" sz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204786"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kern="1200" dirty="0" smtClean="0"/>
                        <a:t>Accelerators</a:t>
                      </a:r>
                      <a:endParaRPr lang="en-GB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15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30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45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61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5763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2915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068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220" algn="l" defTabSz="914305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GB" sz="1200" kern="1200" dirty="0" smtClean="0"/>
                        <a:t>~200</a:t>
                      </a:r>
                      <a:endParaRPr lang="en-GB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204786">
                <a:tc>
                  <a:txBody>
                    <a:bodyPr/>
                    <a:lstStyle/>
                    <a:p>
                      <a:pPr marL="0" algn="ctr" defTabSz="914305" rtl="0" eaLnBrk="1" latinLnBrk="0" hangingPunct="1"/>
                      <a:r>
                        <a:rPr lang="en-GB" sz="1200" kern="1200" dirty="0" smtClean="0">
                          <a:solidFill>
                            <a:schemeClr val="bg1"/>
                          </a:solidFill>
                          <a:latin typeface="Calibri"/>
                          <a:ea typeface=""/>
                          <a:cs typeface=""/>
                        </a:rPr>
                        <a:t>Total</a:t>
                      </a:r>
                      <a:endParaRPr lang="en-GB" sz="1200" kern="1200" dirty="0">
                        <a:solidFill>
                          <a:schemeClr val="bg1"/>
                        </a:solidFill>
                        <a:latin typeface="Calibri"/>
                        <a:ea typeface=""/>
                        <a:cs typeface=""/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305" rtl="0" eaLnBrk="1" latinLnBrk="0" hangingPunct="1"/>
                      <a:r>
                        <a:rPr lang="en-GB" sz="1200" kern="1200" dirty="0" smtClean="0">
                          <a:solidFill>
                            <a:schemeClr val="bg1"/>
                          </a:solidFill>
                          <a:latin typeface="Calibri"/>
                          <a:ea typeface=""/>
                          <a:cs typeface=""/>
                        </a:rPr>
                        <a:t>&gt;600</a:t>
                      </a:r>
                      <a:endParaRPr lang="en-GB" sz="1200" kern="1200" dirty="0">
                        <a:solidFill>
                          <a:schemeClr val="bg1"/>
                        </a:solidFill>
                        <a:latin typeface="Calibri"/>
                        <a:ea typeface=""/>
                        <a:cs typeface=""/>
                      </a:endParaRP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606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wo columns"/>
  <p:tag name="CDT_LAYOUT_TYPE" val="29"/>
  <p:tag name="CDT_ORIGINAL_DESIGNS_NAME" val="Siemens 2013 – 16:9"/>
  <p:tag name="CDT_ORIGINAL_MASTERS_NAME" val="Two columns"/>
  <p:tag name="CDT_ORIGINAL_LAYOUT_TYPE" val="2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LWgSqhGUa_8F4f1uba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One object (large)"/>
  <p:tag name="CDT_LAYOUT_TYPE" val="16"/>
  <p:tag name="CDT_ORIGINAL_DESIGNS_NAME" val="Siemens 2013 – 16:9"/>
  <p:tag name="CDT_ORIGINAL_MASTERS_NAME" val="One object (large)"/>
  <p:tag name="CDT_ORIGINAL_LAYOUT_TYPE" val="1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LNIpYezUij3mccrJ11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ykbZ_L30m2Poyw_I_ao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rZ20srq0C6C173J1230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UOHm3Wl0aQxVnJCRUN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u5qwGGugk2GE8fGoUxhQ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i.PqNPG0ab.1IxBxN9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WpclfL3EeKmqZKc2Gf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pkIZa_v0WWar9EEMwbm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_o4YYcY0ezpUxKwj_I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eYpjywZa0KQ0FGUblcR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wo columns"/>
  <p:tag name="CDT_LAYOUT_TYPE" val="29"/>
  <p:tag name="CDT_ORIGINAL_DESIGNS_NAME" val="Siemens 2013 – 16:9"/>
  <p:tag name="CDT_ORIGINAL_MASTERS_NAME" val="Two columns"/>
  <p:tag name="CDT_ORIGINAL_LAYOUT_TYPE" val="29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wo columns"/>
  <p:tag name="CDT_LAYOUT_TYPE" val="29"/>
  <p:tag name="CDT_ORIGINAL_DESIGNS_NAME" val="Siemens 2013 – 16:9"/>
  <p:tag name="CDT_ORIGINAL_MASTERS_NAME" val="Two columns"/>
  <p:tag name="CDT_ORIGINAL_LAYOUT_TYPE" val="2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wo columns"/>
  <p:tag name="CDT_LAYOUT_TYPE" val="29"/>
  <p:tag name="CDT_ORIGINAL_DESIGNS_NAME" val="Siemens 2013 – 16:9"/>
  <p:tag name="CDT_ORIGINAL_MASTERS_NAME" val="Two columns"/>
  <p:tag name="CDT_ORIGINAL_LAYOUT_TYPE" val="29"/>
</p:tagLst>
</file>

<file path=ppt/theme/theme1.xml><?xml version="1.0" encoding="utf-8"?>
<a:theme xmlns:a="http://schemas.openxmlformats.org/drawingml/2006/main" name="Office Theme">
  <a:themeElements>
    <a:clrScheme name="CERN openlab">
      <a:dk1>
        <a:srgbClr val="222268"/>
      </a:dk1>
      <a:lt1>
        <a:sysClr val="window" lastClr="FFFFFF"/>
      </a:lt1>
      <a:dk2>
        <a:srgbClr val="222268"/>
      </a:dk2>
      <a:lt2>
        <a:srgbClr val="A5A5A5"/>
      </a:lt2>
      <a:accent1>
        <a:srgbClr val="4F81BD"/>
      </a:accent1>
      <a:accent2>
        <a:srgbClr val="C0504D"/>
      </a:accent2>
      <a:accent3>
        <a:srgbClr val="9BBB59"/>
      </a:accent3>
      <a:accent4>
        <a:srgbClr val="800080"/>
      </a:accent4>
      <a:accent5>
        <a:srgbClr val="4BACC6"/>
      </a:accent5>
      <a:accent6>
        <a:srgbClr val="E36C09"/>
      </a:accent6>
      <a:hlink>
        <a:srgbClr val="31859B"/>
      </a:hlink>
      <a:folHlink>
        <a:srgbClr val="3F004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BF9E3E5DAC847BCCE6085537EFAD0" ma:contentTypeVersion="0" ma:contentTypeDescription="Create a new document." ma:contentTypeScope="" ma:versionID="b68f3527c49fbfe03bd613ef88a3c00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2D7D221-1A3E-4E46-AF01-552FA1789F09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4583EE2-AF66-43EA-8E79-C37A9128B2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7C94009-5D07-4AEA-B832-2BABC57CB3B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1</TotalTime>
  <Words>1642</Words>
  <Application>Microsoft Office PowerPoint</Application>
  <PresentationFormat>On-screen Show (4:3)</PresentationFormat>
  <Paragraphs>552</Paragraphs>
  <Slides>2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ＭＳ Ｐゴシック</vt:lpstr>
      <vt:lpstr>Arial</vt:lpstr>
      <vt:lpstr>Calibri</vt:lpstr>
      <vt:lpstr>Cambria Math</vt:lpstr>
      <vt:lpstr>Siemens Sans</vt:lpstr>
      <vt:lpstr>Wingdings</vt:lpstr>
      <vt:lpstr>Office Theme</vt:lpstr>
      <vt:lpstr>think-cell Slide</vt:lpstr>
      <vt:lpstr>think-cell Folie</vt:lpstr>
      <vt:lpstr>Smart Technologies for Large Control Systems</vt:lpstr>
      <vt:lpstr>Siemens - Smart Data to Business </vt:lpstr>
      <vt:lpstr>WinCC Open Architecture (OA)</vt:lpstr>
      <vt:lpstr>WinCC OA Manager Concept</vt:lpstr>
      <vt:lpstr>WinCC OA as Distributed System</vt:lpstr>
      <vt:lpstr>WinCC OA Redundancy</vt:lpstr>
      <vt:lpstr>WinCC OA – flexible and open</vt:lpstr>
      <vt:lpstr>WinCC OA within Siemens</vt:lpstr>
      <vt:lpstr>A bit of history…</vt:lpstr>
      <vt:lpstr>Typical Control System Architecture</vt:lpstr>
      <vt:lpstr>Siemens’ Smart Data Technologies @ CERN</vt:lpstr>
      <vt:lpstr>PowerPoint Presentation</vt:lpstr>
      <vt:lpstr>Understanding the GAS system behaviour with Smart Data:  Identifying a root-cause</vt:lpstr>
      <vt:lpstr>Data Analytics use-cases: few examples, but many more!</vt:lpstr>
      <vt:lpstr>Centralized Deployment Tool (CDT)</vt:lpstr>
      <vt:lpstr>ASCII Manager</vt:lpstr>
      <vt:lpstr>RDB Archiver for WinCC OA 3.11 Performance, robustness and stability</vt:lpstr>
      <vt:lpstr>More on Data Processing</vt:lpstr>
      <vt:lpstr>PowerPoint Presentation</vt:lpstr>
      <vt:lpstr>PowerPoint Presentation</vt:lpstr>
      <vt:lpstr>PowerPoint Presentation</vt:lpstr>
    </vt:vector>
  </TitlesOfParts>
  <Company>CER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élissa Gaillard</dc:creator>
  <cp:lastModifiedBy>Filippo Maria Tilaro</cp:lastModifiedBy>
  <cp:revision>734</cp:revision>
  <dcterms:created xsi:type="dcterms:W3CDTF">2014-01-28T10:51:30Z</dcterms:created>
  <dcterms:modified xsi:type="dcterms:W3CDTF">2015-06-11T12:1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4DDBF9E3E5DAC847BCCE6085537EFAD0</vt:lpwstr>
  </property>
  <property fmtid="{D5CDD505-2E9C-101B-9397-08002B2CF9AE}" pid="4" name="_AdHocReviewCycleID">
    <vt:i4>548149229</vt:i4>
  </property>
  <property fmtid="{D5CDD505-2E9C-101B-9397-08002B2CF9AE}" pid="5" name="_EmailSubject">
    <vt:lpwstr>CERN external account</vt:lpwstr>
  </property>
  <property fmtid="{D5CDD505-2E9C-101B-9397-08002B2CF9AE}" pid="6" name="_AuthorEmail">
    <vt:lpwstr>elisabeth.bakany@etm.at</vt:lpwstr>
  </property>
  <property fmtid="{D5CDD505-2E9C-101B-9397-08002B2CF9AE}" pid="7" name="_AuthorEmailDisplayName">
    <vt:lpwstr>Bakany, Elisabeth</vt:lpwstr>
  </property>
  <property fmtid="{D5CDD505-2E9C-101B-9397-08002B2CF9AE}" pid="8" name="_PreviousAdHocReviewCycleID">
    <vt:i4>-1546218473</vt:i4>
  </property>
</Properties>
</file>